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tiff" ContentType="image/tif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charts/chart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5"/>
  </p:notesMasterIdLst>
  <p:sldIdLst>
    <p:sldId id="256" r:id="rId5"/>
    <p:sldId id="266" r:id="rId6"/>
    <p:sldId id="258" r:id="rId7"/>
    <p:sldId id="272" r:id="rId8"/>
    <p:sldId id="274" r:id="rId9"/>
    <p:sldId id="265" r:id="rId10"/>
    <p:sldId id="281" r:id="rId11"/>
    <p:sldId id="284" r:id="rId12"/>
    <p:sldId id="283" r:id="rId13"/>
    <p:sldId id="285"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00FF00"/>
    <a:srgbClr val="F2F2F2"/>
    <a:srgbClr val="D74339"/>
    <a:srgbClr val="3FFF57"/>
    <a:srgbClr val="FFFFFF"/>
    <a:srgbClr val="E9DDCD"/>
    <a:srgbClr val="99BC56"/>
    <a:srgbClr val="15435B"/>
    <a:srgbClr val="3733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642C68-AF30-4CBF-BE63-B9B915665008}" v="3113" dt="2019-06-06T20:45:51.215"/>
    <p1510:client id="{F11D76C1-155A-F709-E969-4059580DD3BC}" v="2" dt="2019-06-06T14:45:13.472"/>
    <p1510:client id="{6AE93497-C0EF-5712-0780-17B1EB84FA37}" v="1" dt="2019-06-06T11:43:02.834"/>
    <p1510:client id="{DF5DD67F-AF37-4DBE-741A-A18A1C0DF89F}" v="33" dt="2019-06-06T14:37:18.152"/>
    <p1510:client id="{210058D3-E3D2-6BAE-DBFF-BA15BFE1EF4D}" v="94" dt="2019-06-06T15:09:37.2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96" d="100"/>
          <a:sy n="96" d="100"/>
        </p:scale>
        <p:origin x="291"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an David Botero Alvarez" userId="S::juan.botero@student.ie.edu::429d0b3d-dfc4-48a0-a257-e29fb1b1d5f0" providerId="AD" clId="Web-{35B3F758-866E-88FE-7BAC-A81CFD08A2E0}"/>
    <pc:docChg chg="modSld">
      <pc:chgData name="Juan David Botero Alvarez" userId="S::juan.botero@student.ie.edu::429d0b3d-dfc4-48a0-a257-e29fb1b1d5f0" providerId="AD" clId="Web-{35B3F758-866E-88FE-7BAC-A81CFD08A2E0}" dt="2019-06-05T15:19:04.335" v="20" actId="1076"/>
      <pc:docMkLst>
        <pc:docMk/>
      </pc:docMkLst>
      <pc:sldChg chg="modSp">
        <pc:chgData name="Juan David Botero Alvarez" userId="S::juan.botero@student.ie.edu::429d0b3d-dfc4-48a0-a257-e29fb1b1d5f0" providerId="AD" clId="Web-{35B3F758-866E-88FE-7BAC-A81CFD08A2E0}" dt="2019-06-05T15:14:59.382" v="0" actId="1076"/>
        <pc:sldMkLst>
          <pc:docMk/>
          <pc:sldMk cId="109857222" sldId="256"/>
        </pc:sldMkLst>
        <pc:spChg chg="mod">
          <ac:chgData name="Juan David Botero Alvarez" userId="S::juan.botero@student.ie.edu::429d0b3d-dfc4-48a0-a257-e29fb1b1d5f0" providerId="AD" clId="Web-{35B3F758-866E-88FE-7BAC-A81CFD08A2E0}" dt="2019-06-05T15:14:59.382" v="0" actId="1076"/>
          <ac:spMkLst>
            <pc:docMk/>
            <pc:sldMk cId="109857222" sldId="256"/>
            <ac:spMk id="2" creationId="{00000000-0000-0000-0000-000000000000}"/>
          </ac:spMkLst>
        </pc:spChg>
      </pc:sldChg>
      <pc:sldChg chg="modSp">
        <pc:chgData name="Juan David Botero Alvarez" userId="S::juan.botero@student.ie.edu::429d0b3d-dfc4-48a0-a257-e29fb1b1d5f0" providerId="AD" clId="Web-{35B3F758-866E-88FE-7BAC-A81CFD08A2E0}" dt="2019-06-05T15:16:21.648" v="5" actId="14100"/>
        <pc:sldMkLst>
          <pc:docMk/>
          <pc:sldMk cId="424387413" sldId="258"/>
        </pc:sldMkLst>
        <pc:spChg chg="mod">
          <ac:chgData name="Juan David Botero Alvarez" userId="S::juan.botero@student.ie.edu::429d0b3d-dfc4-48a0-a257-e29fb1b1d5f0" providerId="AD" clId="Web-{35B3F758-866E-88FE-7BAC-A81CFD08A2E0}" dt="2019-06-05T15:15:50.773" v="2" actId="14100"/>
          <ac:spMkLst>
            <pc:docMk/>
            <pc:sldMk cId="424387413" sldId="258"/>
            <ac:spMk id="184" creationId="{FBEEA396-FEBE-469E-849A-A43FC18D3A49}"/>
          </ac:spMkLst>
        </pc:spChg>
        <pc:grpChg chg="mod">
          <ac:chgData name="Juan David Botero Alvarez" userId="S::juan.botero@student.ie.edu::429d0b3d-dfc4-48a0-a257-e29fb1b1d5f0" providerId="AD" clId="Web-{35B3F758-866E-88FE-7BAC-A81CFD08A2E0}" dt="2019-06-05T15:15:47.132" v="1" actId="1076"/>
          <ac:grpSpMkLst>
            <pc:docMk/>
            <pc:sldMk cId="424387413" sldId="258"/>
            <ac:grpSpMk id="185" creationId="{CB0275DE-3A01-4500-83A2-B865240087BB}"/>
          </ac:grpSpMkLst>
        </pc:grpChg>
        <pc:cxnChg chg="mod">
          <ac:chgData name="Juan David Botero Alvarez" userId="S::juan.botero@student.ie.edu::429d0b3d-dfc4-48a0-a257-e29fb1b1d5f0" providerId="AD" clId="Web-{35B3F758-866E-88FE-7BAC-A81CFD08A2E0}" dt="2019-06-05T15:16:21.648" v="5" actId="14100"/>
          <ac:cxnSpMkLst>
            <pc:docMk/>
            <pc:sldMk cId="424387413" sldId="258"/>
            <ac:cxnSpMk id="9" creationId="{E4A08416-2C8E-9249-98A9-9948F676263D}"/>
          </ac:cxnSpMkLst>
        </pc:cxnChg>
        <pc:cxnChg chg="mod">
          <ac:chgData name="Juan David Botero Alvarez" userId="S::juan.botero@student.ie.edu::429d0b3d-dfc4-48a0-a257-e29fb1b1d5f0" providerId="AD" clId="Web-{35B3F758-866E-88FE-7BAC-A81CFD08A2E0}" dt="2019-06-05T15:15:53.664" v="3" actId="14100"/>
          <ac:cxnSpMkLst>
            <pc:docMk/>
            <pc:sldMk cId="424387413" sldId="258"/>
            <ac:cxnSpMk id="189" creationId="{20F3CA8D-9B60-42B5-AFE6-90AFACEF19FB}"/>
          </ac:cxnSpMkLst>
        </pc:cxnChg>
      </pc:sldChg>
      <pc:sldChg chg="addSp delSp modSp modNotes">
        <pc:chgData name="Juan David Botero Alvarez" userId="S::juan.botero@student.ie.edu::429d0b3d-dfc4-48a0-a257-e29fb1b1d5f0" providerId="AD" clId="Web-{35B3F758-866E-88FE-7BAC-A81CFD08A2E0}" dt="2019-06-05T15:19:04.335" v="20" actId="1076"/>
        <pc:sldMkLst>
          <pc:docMk/>
          <pc:sldMk cId="1556233465" sldId="260"/>
        </pc:sldMkLst>
        <pc:spChg chg="add mod">
          <ac:chgData name="Juan David Botero Alvarez" userId="S::juan.botero@student.ie.edu::429d0b3d-dfc4-48a0-a257-e29fb1b1d5f0" providerId="AD" clId="Web-{35B3F758-866E-88FE-7BAC-A81CFD08A2E0}" dt="2019-06-05T15:18:36.304" v="16" actId="1076"/>
          <ac:spMkLst>
            <pc:docMk/>
            <pc:sldMk cId="1556233465" sldId="260"/>
            <ac:spMk id="2" creationId="{5A415EB2-164E-4173-A6F4-67DAD4DE4F66}"/>
          </ac:spMkLst>
        </pc:spChg>
        <pc:spChg chg="del">
          <ac:chgData name="Juan David Botero Alvarez" userId="S::juan.botero@student.ie.edu::429d0b3d-dfc4-48a0-a257-e29fb1b1d5f0" providerId="AD" clId="Web-{35B3F758-866E-88FE-7BAC-A81CFD08A2E0}" dt="2019-06-05T15:18:13.070" v="14"/>
          <ac:spMkLst>
            <pc:docMk/>
            <pc:sldMk cId="1556233465" sldId="260"/>
            <ac:spMk id="22" creationId="{B317FEA9-E95F-F34C-80E0-1725A258AA30}"/>
          </ac:spMkLst>
        </pc:spChg>
        <pc:spChg chg="mod">
          <ac:chgData name="Juan David Botero Alvarez" userId="S::juan.botero@student.ie.edu::429d0b3d-dfc4-48a0-a257-e29fb1b1d5f0" providerId="AD" clId="Web-{35B3F758-866E-88FE-7BAC-A81CFD08A2E0}" dt="2019-06-05T15:17:44.226" v="10" actId="1076"/>
          <ac:spMkLst>
            <pc:docMk/>
            <pc:sldMk cId="1556233465" sldId="260"/>
            <ac:spMk id="24" creationId="{B51966C8-EEAC-414F-B528-CAA5069FDB6E}"/>
          </ac:spMkLst>
        </pc:spChg>
        <pc:spChg chg="mod">
          <ac:chgData name="Juan David Botero Alvarez" userId="S::juan.botero@student.ie.edu::429d0b3d-dfc4-48a0-a257-e29fb1b1d5f0" providerId="AD" clId="Web-{35B3F758-866E-88FE-7BAC-A81CFD08A2E0}" dt="2019-06-05T15:17:30.742" v="7" actId="1076"/>
          <ac:spMkLst>
            <pc:docMk/>
            <pc:sldMk cId="1556233465" sldId="260"/>
            <ac:spMk id="25" creationId="{DDB86BAA-55BD-6B46-A6BB-45208D3D7B7D}"/>
          </ac:spMkLst>
        </pc:spChg>
        <pc:spChg chg="mod">
          <ac:chgData name="Juan David Botero Alvarez" userId="S::juan.botero@student.ie.edu::429d0b3d-dfc4-48a0-a257-e29fb1b1d5f0" providerId="AD" clId="Web-{35B3F758-866E-88FE-7BAC-A81CFD08A2E0}" dt="2019-06-05T15:18:58.664" v="18" actId="1076"/>
          <ac:spMkLst>
            <pc:docMk/>
            <pc:sldMk cId="1556233465" sldId="260"/>
            <ac:spMk id="28" creationId="{B24BD0A5-4BD0-1F4D-9682-103581CCD38D}"/>
          </ac:spMkLst>
        </pc:spChg>
        <pc:grpChg chg="mod">
          <ac:chgData name="Juan David Botero Alvarez" userId="S::juan.botero@student.ie.edu::429d0b3d-dfc4-48a0-a257-e29fb1b1d5f0" providerId="AD" clId="Web-{35B3F758-866E-88FE-7BAC-A81CFD08A2E0}" dt="2019-06-05T15:17:50.820" v="11" actId="1076"/>
          <ac:grpSpMkLst>
            <pc:docMk/>
            <pc:sldMk cId="1556233465" sldId="260"/>
            <ac:grpSpMk id="13" creationId="{2447ADA0-6E35-9740-9801-C10F5FBDF45F}"/>
          </ac:grpSpMkLst>
        </pc:grpChg>
        <pc:grpChg chg="mod">
          <ac:chgData name="Juan David Botero Alvarez" userId="S::juan.botero@student.ie.edu::429d0b3d-dfc4-48a0-a257-e29fb1b1d5f0" providerId="AD" clId="Web-{35B3F758-866E-88FE-7BAC-A81CFD08A2E0}" dt="2019-06-05T15:19:04.335" v="20" actId="1076"/>
          <ac:grpSpMkLst>
            <pc:docMk/>
            <pc:sldMk cId="1556233465" sldId="260"/>
            <ac:grpSpMk id="23" creationId="{2EB8C180-6FA3-AA44-84E4-B615BD585184}"/>
          </ac:grpSpMkLst>
        </pc:grpChg>
      </pc:sldChg>
      <pc:sldChg chg="modSp">
        <pc:chgData name="Juan David Botero Alvarez" userId="S::juan.botero@student.ie.edu::429d0b3d-dfc4-48a0-a257-e29fb1b1d5f0" providerId="AD" clId="Web-{35B3F758-866E-88FE-7BAC-A81CFD08A2E0}" dt="2019-06-05T15:16:33.351" v="6" actId="14100"/>
        <pc:sldMkLst>
          <pc:docMk/>
          <pc:sldMk cId="752216926" sldId="266"/>
        </pc:sldMkLst>
        <pc:cxnChg chg="mod">
          <ac:chgData name="Juan David Botero Alvarez" userId="S::juan.botero@student.ie.edu::429d0b3d-dfc4-48a0-a257-e29fb1b1d5f0" providerId="AD" clId="Web-{35B3F758-866E-88FE-7BAC-A81CFD08A2E0}" dt="2019-06-05T15:16:33.351" v="6" actId="14100"/>
          <ac:cxnSpMkLst>
            <pc:docMk/>
            <pc:sldMk cId="752216926" sldId="266"/>
            <ac:cxnSpMk id="9" creationId="{E4A08416-2C8E-9249-98A9-9948F676263D}"/>
          </ac:cxnSpMkLst>
        </pc:cxnChg>
      </pc:sldChg>
      <pc:sldChg chg="modSp">
        <pc:chgData name="Juan David Botero Alvarez" userId="S::juan.botero@student.ie.edu::429d0b3d-dfc4-48a0-a257-e29fb1b1d5f0" providerId="AD" clId="Web-{35B3F758-866E-88FE-7BAC-A81CFD08A2E0}" dt="2019-06-05T15:16:15.773" v="4" actId="14100"/>
        <pc:sldMkLst>
          <pc:docMk/>
          <pc:sldMk cId="1649489561" sldId="272"/>
        </pc:sldMkLst>
        <pc:cxnChg chg="mod">
          <ac:chgData name="Juan David Botero Alvarez" userId="S::juan.botero@student.ie.edu::429d0b3d-dfc4-48a0-a257-e29fb1b1d5f0" providerId="AD" clId="Web-{35B3F758-866E-88FE-7BAC-A81CFD08A2E0}" dt="2019-06-05T15:16:15.773" v="4" actId="14100"/>
          <ac:cxnSpMkLst>
            <pc:docMk/>
            <pc:sldMk cId="1649489561" sldId="272"/>
            <ac:cxnSpMk id="9" creationId="{53F6776C-250A-405E-85D3-CA07EFD96D89}"/>
          </ac:cxnSpMkLst>
        </pc:cxnChg>
      </pc:sldChg>
    </pc:docChg>
  </pc:docChgLst>
  <pc:docChgLst>
    <pc:chgData name="Juan David Botero Alvarez" userId="S::juan.botero@student.ie.edu::429d0b3d-dfc4-48a0-a257-e29fb1b1d5f0" providerId="AD" clId="Web-{210058D3-E3D2-6BAE-DBFF-BA15BFE1EF4D}"/>
    <pc:docChg chg="addSld modSld sldOrd">
      <pc:chgData name="Juan David Botero Alvarez" userId="S::juan.botero@student.ie.edu::429d0b3d-dfc4-48a0-a257-e29fb1b1d5f0" providerId="AD" clId="Web-{210058D3-E3D2-6BAE-DBFF-BA15BFE1EF4D}" dt="2019-06-06T15:09:37.294" v="102" actId="14100"/>
      <pc:docMkLst>
        <pc:docMk/>
      </pc:docMkLst>
      <pc:sldChg chg="modSp">
        <pc:chgData name="Juan David Botero Alvarez" userId="S::juan.botero@student.ie.edu::429d0b3d-dfc4-48a0-a257-e29fb1b1d5f0" providerId="AD" clId="Web-{210058D3-E3D2-6BAE-DBFF-BA15BFE1EF4D}" dt="2019-06-06T15:09:37.294" v="102" actId="14100"/>
        <pc:sldMkLst>
          <pc:docMk/>
          <pc:sldMk cId="424387413" sldId="258"/>
        </pc:sldMkLst>
        <pc:cxnChg chg="mod">
          <ac:chgData name="Juan David Botero Alvarez" userId="S::juan.botero@student.ie.edu::429d0b3d-dfc4-48a0-a257-e29fb1b1d5f0" providerId="AD" clId="Web-{210058D3-E3D2-6BAE-DBFF-BA15BFE1EF4D}" dt="2019-06-06T15:09:37.294" v="102" actId="14100"/>
          <ac:cxnSpMkLst>
            <pc:docMk/>
            <pc:sldMk cId="424387413" sldId="258"/>
            <ac:cxnSpMk id="9" creationId="{E4A08416-2C8E-9249-98A9-9948F676263D}"/>
          </ac:cxnSpMkLst>
        </pc:cxnChg>
      </pc:sldChg>
      <pc:sldChg chg="delSp modSp">
        <pc:chgData name="Juan David Botero Alvarez" userId="S::juan.botero@student.ie.edu::429d0b3d-dfc4-48a0-a257-e29fb1b1d5f0" providerId="AD" clId="Web-{210058D3-E3D2-6BAE-DBFF-BA15BFE1EF4D}" dt="2019-06-06T15:09:21.544" v="98" actId="20577"/>
        <pc:sldMkLst>
          <pc:docMk/>
          <pc:sldMk cId="1110250214" sldId="265"/>
        </pc:sldMkLst>
        <pc:spChg chg="del">
          <ac:chgData name="Juan David Botero Alvarez" userId="S::juan.botero@student.ie.edu::429d0b3d-dfc4-48a0-a257-e29fb1b1d5f0" providerId="AD" clId="Web-{210058D3-E3D2-6BAE-DBFF-BA15BFE1EF4D}" dt="2019-06-06T14:48:22.906" v="1"/>
          <ac:spMkLst>
            <pc:docMk/>
            <pc:sldMk cId="1110250214" sldId="265"/>
            <ac:spMk id="20" creationId="{F2BFF0F0-A882-D14D-B633-6ED2EF0DF805}"/>
          </ac:spMkLst>
        </pc:spChg>
        <pc:spChg chg="mod">
          <ac:chgData name="Juan David Botero Alvarez" userId="S::juan.botero@student.ie.edu::429d0b3d-dfc4-48a0-a257-e29fb1b1d5f0" providerId="AD" clId="Web-{210058D3-E3D2-6BAE-DBFF-BA15BFE1EF4D}" dt="2019-06-06T15:09:21.544" v="98" actId="20577"/>
          <ac:spMkLst>
            <pc:docMk/>
            <pc:sldMk cId="1110250214" sldId="265"/>
            <ac:spMk id="31" creationId="{3C7954C9-3EB2-D440-86B6-9183B4AA34ED}"/>
          </ac:spMkLst>
        </pc:spChg>
        <pc:grpChg chg="mod">
          <ac:chgData name="Juan David Botero Alvarez" userId="S::juan.botero@student.ie.edu::429d0b3d-dfc4-48a0-a257-e29fb1b1d5f0" providerId="AD" clId="Web-{210058D3-E3D2-6BAE-DBFF-BA15BFE1EF4D}" dt="2019-06-06T15:08:19.732" v="80" actId="14100"/>
          <ac:grpSpMkLst>
            <pc:docMk/>
            <pc:sldMk cId="1110250214" sldId="265"/>
            <ac:grpSpMk id="8" creationId="{CBC3F1BC-0F89-1146-828B-B448BC85FFF9}"/>
          </ac:grpSpMkLst>
        </pc:grpChg>
        <pc:picChg chg="mod">
          <ac:chgData name="Juan David Botero Alvarez" userId="S::juan.botero@student.ie.edu::429d0b3d-dfc4-48a0-a257-e29fb1b1d5f0" providerId="AD" clId="Web-{210058D3-E3D2-6BAE-DBFF-BA15BFE1EF4D}" dt="2019-06-06T15:07:50.217" v="72" actId="1076"/>
          <ac:picMkLst>
            <pc:docMk/>
            <pc:sldMk cId="1110250214" sldId="265"/>
            <ac:picMk id="26" creationId="{F748B3D4-FD2F-0742-9BF2-B6F69BE5B815}"/>
          </ac:picMkLst>
        </pc:picChg>
        <pc:picChg chg="mod">
          <ac:chgData name="Juan David Botero Alvarez" userId="S::juan.botero@student.ie.edu::429d0b3d-dfc4-48a0-a257-e29fb1b1d5f0" providerId="AD" clId="Web-{210058D3-E3D2-6BAE-DBFF-BA15BFE1EF4D}" dt="2019-06-06T15:07:50.248" v="73" actId="1076"/>
          <ac:picMkLst>
            <pc:docMk/>
            <pc:sldMk cId="1110250214" sldId="265"/>
            <ac:picMk id="28" creationId="{BCEC1143-95AF-A44E-AB8B-C7810F435AED}"/>
          </ac:picMkLst>
        </pc:picChg>
        <pc:picChg chg="mod">
          <ac:chgData name="Juan David Botero Alvarez" userId="S::juan.botero@student.ie.edu::429d0b3d-dfc4-48a0-a257-e29fb1b1d5f0" providerId="AD" clId="Web-{210058D3-E3D2-6BAE-DBFF-BA15BFE1EF4D}" dt="2019-06-06T15:07:50.263" v="74" actId="1076"/>
          <ac:picMkLst>
            <pc:docMk/>
            <pc:sldMk cId="1110250214" sldId="265"/>
            <ac:picMk id="30" creationId="{CAFEDEC4-EBD0-8C42-8B48-44E3134E895D}"/>
          </ac:picMkLst>
        </pc:picChg>
        <pc:picChg chg="mod">
          <ac:chgData name="Juan David Botero Alvarez" userId="S::juan.botero@student.ie.edu::429d0b3d-dfc4-48a0-a257-e29fb1b1d5f0" providerId="AD" clId="Web-{210058D3-E3D2-6BAE-DBFF-BA15BFE1EF4D}" dt="2019-06-06T15:08:53.763" v="83" actId="1076"/>
          <ac:picMkLst>
            <pc:docMk/>
            <pc:sldMk cId="1110250214" sldId="265"/>
            <ac:picMk id="33" creationId="{6EB224F6-3666-4F4F-874F-61A079326F21}"/>
          </ac:picMkLst>
        </pc:picChg>
        <pc:cxnChg chg="mod">
          <ac:chgData name="Juan David Botero Alvarez" userId="S::juan.botero@student.ie.edu::429d0b3d-dfc4-48a0-a257-e29fb1b1d5f0" providerId="AD" clId="Web-{210058D3-E3D2-6BAE-DBFF-BA15BFE1EF4D}" dt="2019-06-06T14:48:27.187" v="2" actId="14100"/>
          <ac:cxnSpMkLst>
            <pc:docMk/>
            <pc:sldMk cId="1110250214" sldId="265"/>
            <ac:cxnSpMk id="9" creationId="{E4A08416-2C8E-9249-98A9-9948F676263D}"/>
          </ac:cxnSpMkLst>
        </pc:cxnChg>
      </pc:sldChg>
      <pc:sldChg chg="modSp">
        <pc:chgData name="Juan David Botero Alvarez" userId="S::juan.botero@student.ie.edu::429d0b3d-dfc4-48a0-a257-e29fb1b1d5f0" providerId="AD" clId="Web-{210058D3-E3D2-6BAE-DBFF-BA15BFE1EF4D}" dt="2019-06-06T14:48:38.781" v="4" actId="14100"/>
        <pc:sldMkLst>
          <pc:docMk/>
          <pc:sldMk cId="3140807147" sldId="274"/>
        </pc:sldMkLst>
        <pc:cxnChg chg="mod">
          <ac:chgData name="Juan David Botero Alvarez" userId="S::juan.botero@student.ie.edu::429d0b3d-dfc4-48a0-a257-e29fb1b1d5f0" providerId="AD" clId="Web-{210058D3-E3D2-6BAE-DBFF-BA15BFE1EF4D}" dt="2019-06-06T14:48:38.781" v="4" actId="14100"/>
          <ac:cxnSpMkLst>
            <pc:docMk/>
            <pc:sldMk cId="3140807147" sldId="274"/>
            <ac:cxnSpMk id="5" creationId="{5CA1AE3F-710F-4A48-B30C-A0EBB7F24920}"/>
          </ac:cxnSpMkLst>
        </pc:cxnChg>
      </pc:sldChg>
      <pc:sldChg chg="modSp">
        <pc:chgData name="Juan David Botero Alvarez" userId="S::juan.botero@student.ie.edu::429d0b3d-dfc4-48a0-a257-e29fb1b1d5f0" providerId="AD" clId="Web-{210058D3-E3D2-6BAE-DBFF-BA15BFE1EF4D}" dt="2019-06-06T14:49:10.078" v="8" actId="14100"/>
        <pc:sldMkLst>
          <pc:docMk/>
          <pc:sldMk cId="1089256195" sldId="281"/>
        </pc:sldMkLst>
        <pc:cxnChg chg="mod">
          <ac:chgData name="Juan David Botero Alvarez" userId="S::juan.botero@student.ie.edu::429d0b3d-dfc4-48a0-a257-e29fb1b1d5f0" providerId="AD" clId="Web-{210058D3-E3D2-6BAE-DBFF-BA15BFE1EF4D}" dt="2019-06-06T14:49:10.078" v="8" actId="14100"/>
          <ac:cxnSpMkLst>
            <pc:docMk/>
            <pc:sldMk cId="1089256195" sldId="281"/>
            <ac:cxnSpMk id="5" creationId="{5CA1AE3F-710F-4A48-B30C-A0EBB7F24920}"/>
          </ac:cxnSpMkLst>
        </pc:cxnChg>
      </pc:sldChg>
      <pc:sldChg chg="mod ord modShow">
        <pc:chgData name="Juan David Botero Alvarez" userId="S::juan.botero@student.ie.edu::429d0b3d-dfc4-48a0-a257-e29fb1b1d5f0" providerId="AD" clId="Web-{210058D3-E3D2-6BAE-DBFF-BA15BFE1EF4D}" dt="2019-06-06T14:48:58.656" v="6"/>
        <pc:sldMkLst>
          <pc:docMk/>
          <pc:sldMk cId="2710440420" sldId="282"/>
        </pc:sldMkLst>
      </pc:sldChg>
      <pc:sldChg chg="modSp">
        <pc:chgData name="Juan David Botero Alvarez" userId="S::juan.botero@student.ie.edu::429d0b3d-dfc4-48a0-a257-e29fb1b1d5f0" providerId="AD" clId="Web-{210058D3-E3D2-6BAE-DBFF-BA15BFE1EF4D}" dt="2019-06-06T15:01:28.032" v="23"/>
        <pc:sldMkLst>
          <pc:docMk/>
          <pc:sldMk cId="888234551" sldId="283"/>
        </pc:sldMkLst>
        <pc:spChg chg="mod">
          <ac:chgData name="Juan David Botero Alvarez" userId="S::juan.botero@student.ie.edu::429d0b3d-dfc4-48a0-a257-e29fb1b1d5f0" providerId="AD" clId="Web-{210058D3-E3D2-6BAE-DBFF-BA15BFE1EF4D}" dt="2019-06-06T15:01:28.032" v="23"/>
          <ac:spMkLst>
            <pc:docMk/>
            <pc:sldMk cId="888234551" sldId="283"/>
            <ac:spMk id="86" creationId="{6DE065CE-B6AB-4D87-A109-E940A359AA5B}"/>
          </ac:spMkLst>
        </pc:spChg>
        <pc:picChg chg="mod">
          <ac:chgData name="Juan David Botero Alvarez" userId="S::juan.botero@student.ie.edu::429d0b3d-dfc4-48a0-a257-e29fb1b1d5f0" providerId="AD" clId="Web-{210058D3-E3D2-6BAE-DBFF-BA15BFE1EF4D}" dt="2019-06-06T15:01:20.469" v="21"/>
          <ac:picMkLst>
            <pc:docMk/>
            <pc:sldMk cId="888234551" sldId="283"/>
            <ac:picMk id="7" creationId="{71AC36DB-BED3-4A62-A4E0-A5D862B33278}"/>
          </ac:picMkLst>
        </pc:picChg>
        <pc:picChg chg="mod">
          <ac:chgData name="Juan David Botero Alvarez" userId="S::juan.botero@student.ie.edu::429d0b3d-dfc4-48a0-a257-e29fb1b1d5f0" providerId="AD" clId="Web-{210058D3-E3D2-6BAE-DBFF-BA15BFE1EF4D}" dt="2019-06-06T15:01:23.360" v="22"/>
          <ac:picMkLst>
            <pc:docMk/>
            <pc:sldMk cId="888234551" sldId="283"/>
            <ac:picMk id="9" creationId="{5E95BB77-2EC7-466A-B563-CCB890962B08}"/>
          </ac:picMkLst>
        </pc:picChg>
        <pc:cxnChg chg="mod">
          <ac:chgData name="Juan David Botero Alvarez" userId="S::juan.botero@student.ie.edu::429d0b3d-dfc4-48a0-a257-e29fb1b1d5f0" providerId="AD" clId="Web-{210058D3-E3D2-6BAE-DBFF-BA15BFE1EF4D}" dt="2019-06-06T14:49:26.296" v="11" actId="14100"/>
          <ac:cxnSpMkLst>
            <pc:docMk/>
            <pc:sldMk cId="888234551" sldId="283"/>
            <ac:cxnSpMk id="5" creationId="{5CA1AE3F-710F-4A48-B30C-A0EBB7F24920}"/>
          </ac:cxnSpMkLst>
        </pc:cxnChg>
      </pc:sldChg>
      <pc:sldChg chg="addSp modSp">
        <pc:chgData name="Juan David Botero Alvarez" userId="S::juan.botero@student.ie.edu::429d0b3d-dfc4-48a0-a257-e29fb1b1d5f0" providerId="AD" clId="Web-{210058D3-E3D2-6BAE-DBFF-BA15BFE1EF4D}" dt="2019-06-06T15:06:09.592" v="70" actId="1076"/>
        <pc:sldMkLst>
          <pc:docMk/>
          <pc:sldMk cId="3211345518" sldId="284"/>
        </pc:sldMkLst>
        <pc:spChg chg="add mod">
          <ac:chgData name="Juan David Botero Alvarez" userId="S::juan.botero@student.ie.edu::429d0b3d-dfc4-48a0-a257-e29fb1b1d5f0" providerId="AD" clId="Web-{210058D3-E3D2-6BAE-DBFF-BA15BFE1EF4D}" dt="2019-06-06T15:06:09.592" v="70" actId="1076"/>
          <ac:spMkLst>
            <pc:docMk/>
            <pc:sldMk cId="3211345518" sldId="284"/>
            <ac:spMk id="34" creationId="{6A1EF08E-1783-4DB9-9001-BB430FAA2DB0}"/>
          </ac:spMkLst>
        </pc:spChg>
        <pc:cxnChg chg="mod">
          <ac:chgData name="Juan David Botero Alvarez" userId="S::juan.botero@student.ie.edu::429d0b3d-dfc4-48a0-a257-e29fb1b1d5f0" providerId="AD" clId="Web-{210058D3-E3D2-6BAE-DBFF-BA15BFE1EF4D}" dt="2019-06-06T15:02:10.156" v="24" actId="14100"/>
          <ac:cxnSpMkLst>
            <pc:docMk/>
            <pc:sldMk cId="3211345518" sldId="284"/>
            <ac:cxnSpMk id="5" creationId="{5CA1AE3F-710F-4A48-B30C-A0EBB7F24920}"/>
          </ac:cxnSpMkLst>
        </pc:cxnChg>
      </pc:sldChg>
      <pc:sldChg chg="addSp modSp new">
        <pc:chgData name="Juan David Botero Alvarez" userId="S::juan.botero@student.ie.edu::429d0b3d-dfc4-48a0-a257-e29fb1b1d5f0" providerId="AD" clId="Web-{210058D3-E3D2-6BAE-DBFF-BA15BFE1EF4D}" dt="2019-06-06T14:58:07.527" v="20" actId="14100"/>
        <pc:sldMkLst>
          <pc:docMk/>
          <pc:sldMk cId="3199071418" sldId="285"/>
        </pc:sldMkLst>
        <pc:picChg chg="add mod">
          <ac:chgData name="Juan David Botero Alvarez" userId="S::juan.botero@student.ie.edu::429d0b3d-dfc4-48a0-a257-e29fb1b1d5f0" providerId="AD" clId="Web-{210058D3-E3D2-6BAE-DBFF-BA15BFE1EF4D}" dt="2019-06-06T14:58:07.527" v="20" actId="14100"/>
          <ac:picMkLst>
            <pc:docMk/>
            <pc:sldMk cId="3199071418" sldId="285"/>
            <ac:picMk id="3" creationId="{4873799D-21CB-4080-8587-59AEBDCE1727}"/>
          </ac:picMkLst>
        </pc:picChg>
      </pc:sldChg>
    </pc:docChg>
  </pc:docChgLst>
  <pc:docChgLst>
    <pc:chgData name="Juan David Botero Alvarez" userId="S::juan.botero@student.ie.edu::429d0b3d-dfc4-48a0-a257-e29fb1b1d5f0" providerId="AD" clId="Web-{2270C524-459D-784F-EE85-71568A1FBDFB}"/>
    <pc:docChg chg="modSld">
      <pc:chgData name="Juan David Botero Alvarez" userId="S::juan.botero@student.ie.edu::429d0b3d-dfc4-48a0-a257-e29fb1b1d5f0" providerId="AD" clId="Web-{2270C524-459D-784F-EE85-71568A1FBDFB}" dt="2019-06-05T13:30:53.419" v="1"/>
      <pc:docMkLst>
        <pc:docMk/>
      </pc:docMkLst>
      <pc:sldChg chg="delSp modSp">
        <pc:chgData name="Juan David Botero Alvarez" userId="S::juan.botero@student.ie.edu::429d0b3d-dfc4-48a0-a257-e29fb1b1d5f0" providerId="AD" clId="Web-{2270C524-459D-784F-EE85-71568A1FBDFB}" dt="2019-06-05T13:30:53.419" v="1"/>
        <pc:sldMkLst>
          <pc:docMk/>
          <pc:sldMk cId="2566066036" sldId="262"/>
        </pc:sldMkLst>
        <pc:picChg chg="del mod">
          <ac:chgData name="Juan David Botero Alvarez" userId="S::juan.botero@student.ie.edu::429d0b3d-dfc4-48a0-a257-e29fb1b1d5f0" providerId="AD" clId="Web-{2270C524-459D-784F-EE85-71568A1FBDFB}" dt="2019-06-05T13:30:53.419" v="1"/>
          <ac:picMkLst>
            <pc:docMk/>
            <pc:sldMk cId="2566066036" sldId="262"/>
            <ac:picMk id="24" creationId="{53A421AB-C14E-004B-9FF1-2C1A9985EFDE}"/>
          </ac:picMkLst>
        </pc:picChg>
      </pc:sldChg>
    </pc:docChg>
  </pc:docChgLst>
  <pc:docChgLst>
    <pc:chgData name="Rosalía Contreras Moreira" userId="S::rosalia.contreras@student.ie.edu::3da3a5f9-33c0-4429-8f47-9e07633ef5b1" providerId="AD" clId="Web-{C712171D-1ECE-2512-AF29-686E4B1FC803}"/>
    <pc:docChg chg="addSld modSld sldOrd">
      <pc:chgData name="Rosalía Contreras Moreira" userId="S::rosalia.contreras@student.ie.edu::3da3a5f9-33c0-4429-8f47-9e07633ef5b1" providerId="AD" clId="Web-{C712171D-1ECE-2512-AF29-686E4B1FC803}" dt="2019-06-03T16:44:15.389" v="443" actId="1076"/>
      <pc:docMkLst>
        <pc:docMk/>
      </pc:docMkLst>
    </pc:docChg>
  </pc:docChgLst>
  <pc:docChgLst>
    <pc:chgData name="Rosalía Contreras Moreira" userId="S::rosalia.contreras@student.ie.edu::3da3a5f9-33c0-4429-8f47-9e07633ef5b1" providerId="AD" clId="Web-{FF34CCB7-8A73-AFF7-C9FE-37A20DEFEF29}"/>
    <pc:docChg chg="modSld">
      <pc:chgData name="Rosalía Contreras Moreira" userId="S::rosalia.contreras@student.ie.edu::3da3a5f9-33c0-4429-8f47-9e07633ef5b1" providerId="AD" clId="Web-{FF34CCB7-8A73-AFF7-C9FE-37A20DEFEF29}" dt="2019-06-05T15:04:11.949" v="5" actId="1076"/>
      <pc:docMkLst>
        <pc:docMk/>
      </pc:docMkLst>
      <pc:sldChg chg="addSp delSp modSp">
        <pc:chgData name="Rosalía Contreras Moreira" userId="S::rosalia.contreras@student.ie.edu::3da3a5f9-33c0-4429-8f47-9e07633ef5b1" providerId="AD" clId="Web-{FF34CCB7-8A73-AFF7-C9FE-37A20DEFEF29}" dt="2019-06-05T15:04:11.949" v="5" actId="1076"/>
        <pc:sldMkLst>
          <pc:docMk/>
          <pc:sldMk cId="3140807147" sldId="274"/>
        </pc:sldMkLst>
        <pc:picChg chg="add mod">
          <ac:chgData name="Rosalía Contreras Moreira" userId="S::rosalia.contreras@student.ie.edu::3da3a5f9-33c0-4429-8f47-9e07633ef5b1" providerId="AD" clId="Web-{FF34CCB7-8A73-AFF7-C9FE-37A20DEFEF29}" dt="2019-06-05T15:04:08.043" v="4" actId="14100"/>
          <ac:picMkLst>
            <pc:docMk/>
            <pc:sldMk cId="3140807147" sldId="274"/>
            <ac:picMk id="4" creationId="{C838FBF8-1E70-4DD5-B69C-CB3EA07C9300}"/>
          </ac:picMkLst>
        </pc:picChg>
        <pc:picChg chg="del">
          <ac:chgData name="Rosalía Contreras Moreira" userId="S::rosalia.contreras@student.ie.edu::3da3a5f9-33c0-4429-8f47-9e07633ef5b1" providerId="AD" clId="Web-{FF34CCB7-8A73-AFF7-C9FE-37A20DEFEF29}" dt="2019-06-05T15:03:41.074" v="0"/>
          <ac:picMkLst>
            <pc:docMk/>
            <pc:sldMk cId="3140807147" sldId="274"/>
            <ac:picMk id="9" creationId="{90585EBA-554B-4BD8-A4D1-37669809572B}"/>
          </ac:picMkLst>
        </pc:picChg>
        <pc:picChg chg="mod">
          <ac:chgData name="Rosalía Contreras Moreira" userId="S::rosalia.contreras@student.ie.edu::3da3a5f9-33c0-4429-8f47-9e07633ef5b1" providerId="AD" clId="Web-{FF34CCB7-8A73-AFF7-C9FE-37A20DEFEF29}" dt="2019-06-05T15:04:11.949" v="5" actId="1076"/>
          <ac:picMkLst>
            <pc:docMk/>
            <pc:sldMk cId="3140807147" sldId="274"/>
            <ac:picMk id="19" creationId="{85767953-0397-45F8-B839-884E19172ED4}"/>
          </ac:picMkLst>
        </pc:picChg>
      </pc:sldChg>
    </pc:docChg>
  </pc:docChgLst>
  <pc:docChgLst>
    <pc:chgData name="Juan Pablo Larrondo Petricio" userId="S::jplarrondo@student.ie.edu::5d65fc26-8871-4c8b-989a-866f645caef6" providerId="AD" clId="Web-{1ACD464A-42A4-32E5-F44C-8107D7A54472}"/>
    <pc:docChg chg="modSld">
      <pc:chgData name="Juan Pablo Larrondo Petricio" userId="S::jplarrondo@student.ie.edu::5d65fc26-8871-4c8b-989a-866f645caef6" providerId="AD" clId="Web-{1ACD464A-42A4-32E5-F44C-8107D7A54472}" dt="2019-06-05T13:57:46.163" v="4"/>
      <pc:docMkLst>
        <pc:docMk/>
      </pc:docMkLst>
      <pc:sldChg chg="addSp delSp modSp">
        <pc:chgData name="Juan Pablo Larrondo Petricio" userId="S::jplarrondo@student.ie.edu::5d65fc26-8871-4c8b-989a-866f645caef6" providerId="AD" clId="Web-{1ACD464A-42A4-32E5-F44C-8107D7A54472}" dt="2019-06-05T13:57:46.163" v="4"/>
        <pc:sldMkLst>
          <pc:docMk/>
          <pc:sldMk cId="2831212902" sldId="273"/>
        </pc:sldMkLst>
        <pc:picChg chg="add del mod">
          <ac:chgData name="Juan Pablo Larrondo Petricio" userId="S::jplarrondo@student.ie.edu::5d65fc26-8871-4c8b-989a-866f645caef6" providerId="AD" clId="Web-{1ACD464A-42A4-32E5-F44C-8107D7A54472}" dt="2019-06-05T13:57:46.163" v="4"/>
          <ac:picMkLst>
            <pc:docMk/>
            <pc:sldMk cId="2831212902" sldId="273"/>
            <ac:picMk id="2" creationId="{073BAD5A-158B-44AB-A626-B887FB623FAD}"/>
          </ac:picMkLst>
        </pc:picChg>
      </pc:sldChg>
    </pc:docChg>
  </pc:docChgLst>
  <pc:docChgLst>
    <pc:chgData name="Juan David Botero Alvarez" userId="S::juan.botero@student.ie.edu::429d0b3d-dfc4-48a0-a257-e29fb1b1d5f0" providerId="AD" clId="Web-{3E6D2043-A4D9-C2AD-F18E-F5FB3A5F768D}"/>
    <pc:docChg chg="modSld">
      <pc:chgData name="Juan David Botero Alvarez" userId="S::juan.botero@student.ie.edu::429d0b3d-dfc4-48a0-a257-e29fb1b1d5f0" providerId="AD" clId="Web-{3E6D2043-A4D9-C2AD-F18E-F5FB3A5F768D}" dt="2019-06-05T13:25:13.343" v="0" actId="1076"/>
      <pc:docMkLst>
        <pc:docMk/>
      </pc:docMkLst>
      <pc:sldChg chg="modSp">
        <pc:chgData name="Juan David Botero Alvarez" userId="S::juan.botero@student.ie.edu::429d0b3d-dfc4-48a0-a257-e29fb1b1d5f0" providerId="AD" clId="Web-{3E6D2043-A4D9-C2AD-F18E-F5FB3A5F768D}" dt="2019-06-05T13:25:13.343" v="0" actId="1076"/>
        <pc:sldMkLst>
          <pc:docMk/>
          <pc:sldMk cId="109857222" sldId="256"/>
        </pc:sldMkLst>
        <pc:spChg chg="mod">
          <ac:chgData name="Juan David Botero Alvarez" userId="S::juan.botero@student.ie.edu::429d0b3d-dfc4-48a0-a257-e29fb1b1d5f0" providerId="AD" clId="Web-{3E6D2043-A4D9-C2AD-F18E-F5FB3A5F768D}" dt="2019-06-05T13:25:13.343" v="0" actId="1076"/>
          <ac:spMkLst>
            <pc:docMk/>
            <pc:sldMk cId="109857222" sldId="256"/>
            <ac:spMk id="12" creationId="{7B03A696-6E33-784C-94D8-0D411D237852}"/>
          </ac:spMkLst>
        </pc:spChg>
      </pc:sldChg>
    </pc:docChg>
  </pc:docChgLst>
  <pc:docChgLst>
    <pc:chgData name="Juan David Botero Alvarez" userId="S::juan.botero@student.ie.edu::429d0b3d-dfc4-48a0-a257-e29fb1b1d5f0" providerId="AD" clId="Web-{B5766C08-798B-C0DF-F537-EECDFE98AF0E}"/>
    <pc:docChg chg="modSld">
      <pc:chgData name="Juan David Botero Alvarez" userId="S::juan.botero@student.ie.edu::429d0b3d-dfc4-48a0-a257-e29fb1b1d5f0" providerId="AD" clId="Web-{B5766C08-798B-C0DF-F537-EECDFE98AF0E}" dt="2019-06-05T14:39:44.834" v="317" actId="1076"/>
      <pc:docMkLst>
        <pc:docMk/>
      </pc:docMkLst>
      <pc:sldChg chg="addSp delSp modSp modNotes">
        <pc:chgData name="Juan David Botero Alvarez" userId="S::juan.botero@student.ie.edu::429d0b3d-dfc4-48a0-a257-e29fb1b1d5f0" providerId="AD" clId="Web-{B5766C08-798B-C0DF-F537-EECDFE98AF0E}" dt="2019-06-05T14:38:57.397" v="303" actId="1076"/>
        <pc:sldMkLst>
          <pc:docMk/>
          <pc:sldMk cId="752216926" sldId="266"/>
        </pc:sldMkLst>
        <pc:spChg chg="mod">
          <ac:chgData name="Juan David Botero Alvarez" userId="S::juan.botero@student.ie.edu::429d0b3d-dfc4-48a0-a257-e29fb1b1d5f0" providerId="AD" clId="Web-{B5766C08-798B-C0DF-F537-EECDFE98AF0E}" dt="2019-06-05T14:38:57.397" v="303" actId="1076"/>
          <ac:spMkLst>
            <pc:docMk/>
            <pc:sldMk cId="752216926" sldId="266"/>
            <ac:spMk id="6" creationId="{22AC7FD3-969C-A24A-82D4-9830D7079FA2}"/>
          </ac:spMkLst>
        </pc:spChg>
        <pc:picChg chg="add mod">
          <ac:chgData name="Juan David Botero Alvarez" userId="S::juan.botero@student.ie.edu::429d0b3d-dfc4-48a0-a257-e29fb1b1d5f0" providerId="AD" clId="Web-{B5766C08-798B-C0DF-F537-EECDFE98AF0E}" dt="2019-06-05T14:16:22.104" v="73" actId="1076"/>
          <ac:picMkLst>
            <pc:docMk/>
            <pc:sldMk cId="752216926" sldId="266"/>
            <ac:picMk id="2" creationId="{D8984E29-31BD-46C7-A53D-B8B7332B55A6}"/>
          </ac:picMkLst>
        </pc:picChg>
        <pc:picChg chg="mod">
          <ac:chgData name="Juan David Botero Alvarez" userId="S::juan.botero@student.ie.edu::429d0b3d-dfc4-48a0-a257-e29fb1b1d5f0" providerId="AD" clId="Web-{B5766C08-798B-C0DF-F537-EECDFE98AF0E}" dt="2019-06-05T14:16:11.276" v="72" actId="1076"/>
          <ac:picMkLst>
            <pc:docMk/>
            <pc:sldMk cId="752216926" sldId="266"/>
            <ac:picMk id="3" creationId="{FC7C203A-B1F7-1D43-A77D-E91D342926AF}"/>
          </ac:picMkLst>
        </pc:picChg>
        <pc:picChg chg="add mod">
          <ac:chgData name="Juan David Botero Alvarez" userId="S::juan.botero@student.ie.edu::429d0b3d-dfc4-48a0-a257-e29fb1b1d5f0" providerId="AD" clId="Web-{B5766C08-798B-C0DF-F537-EECDFE98AF0E}" dt="2019-06-05T14:32:33.507" v="186" actId="1076"/>
          <ac:picMkLst>
            <pc:docMk/>
            <pc:sldMk cId="752216926" sldId="266"/>
            <ac:picMk id="4" creationId="{394BF6E3-AA73-4993-9B7D-E9EF6FC65020}"/>
          </ac:picMkLst>
        </pc:picChg>
        <pc:picChg chg="add mod">
          <ac:chgData name="Juan David Botero Alvarez" userId="S::juan.botero@student.ie.edu::429d0b3d-dfc4-48a0-a257-e29fb1b1d5f0" providerId="AD" clId="Web-{B5766C08-798B-C0DF-F537-EECDFE98AF0E}" dt="2019-06-05T13:53:17.452" v="39" actId="1076"/>
          <ac:picMkLst>
            <pc:docMk/>
            <pc:sldMk cId="752216926" sldId="266"/>
            <ac:picMk id="5" creationId="{6FAF4704-9CEE-480E-8C2C-16465819F33E}"/>
          </ac:picMkLst>
        </pc:picChg>
        <pc:picChg chg="add mod">
          <ac:chgData name="Juan David Botero Alvarez" userId="S::juan.botero@student.ie.edu::429d0b3d-dfc4-48a0-a257-e29fb1b1d5f0" providerId="AD" clId="Web-{B5766C08-798B-C0DF-F537-EECDFE98AF0E}" dt="2019-06-05T14:32:33.491" v="185" actId="1076"/>
          <ac:picMkLst>
            <pc:docMk/>
            <pc:sldMk cId="752216926" sldId="266"/>
            <ac:picMk id="8" creationId="{F412AFE7-3BC6-4E0D-A4BA-6DFD7FBDB45A}"/>
          </ac:picMkLst>
        </pc:picChg>
        <pc:picChg chg="mod">
          <ac:chgData name="Juan David Botero Alvarez" userId="S::juan.botero@student.ie.edu::429d0b3d-dfc4-48a0-a257-e29fb1b1d5f0" providerId="AD" clId="Web-{B5766C08-798B-C0DF-F537-EECDFE98AF0E}" dt="2019-06-05T13:50:14.999" v="25" actId="1076"/>
          <ac:picMkLst>
            <pc:docMk/>
            <pc:sldMk cId="752216926" sldId="266"/>
            <ac:picMk id="19" creationId="{1A9EC2E3-F0C5-F443-A3FA-826A5A0FB1C3}"/>
          </ac:picMkLst>
        </pc:picChg>
        <pc:picChg chg="add mod">
          <ac:chgData name="Juan David Botero Alvarez" userId="S::juan.botero@student.ie.edu::429d0b3d-dfc4-48a0-a257-e29fb1b1d5f0" providerId="AD" clId="Web-{B5766C08-798B-C0DF-F537-EECDFE98AF0E}" dt="2019-06-05T14:32:33.507" v="187" actId="1076"/>
          <ac:picMkLst>
            <pc:docMk/>
            <pc:sldMk cId="752216926" sldId="266"/>
            <ac:picMk id="20" creationId="{2C9BCBD4-4292-4E7B-B6D6-932FF6F0B846}"/>
          </ac:picMkLst>
        </pc:picChg>
        <pc:picChg chg="add mod">
          <ac:chgData name="Juan David Botero Alvarez" userId="S::juan.botero@student.ie.edu::429d0b3d-dfc4-48a0-a257-e29fb1b1d5f0" providerId="AD" clId="Web-{B5766C08-798B-C0DF-F537-EECDFE98AF0E}" dt="2019-06-05T14:23:33.149" v="90" actId="1076"/>
          <ac:picMkLst>
            <pc:docMk/>
            <pc:sldMk cId="752216926" sldId="266"/>
            <ac:picMk id="21" creationId="{4830966F-C61D-49DB-99CD-6833EF3A00CC}"/>
          </ac:picMkLst>
        </pc:picChg>
        <pc:picChg chg="add del mod">
          <ac:chgData name="Juan David Botero Alvarez" userId="S::juan.botero@student.ie.edu::429d0b3d-dfc4-48a0-a257-e29fb1b1d5f0" providerId="AD" clId="Web-{B5766C08-798B-C0DF-F537-EECDFE98AF0E}" dt="2019-06-05T14:30:53.945" v="174"/>
          <ac:picMkLst>
            <pc:docMk/>
            <pc:sldMk cId="752216926" sldId="266"/>
            <ac:picMk id="22" creationId="{FDA0FFE3-FC07-465A-9716-943AF2BF54B6}"/>
          </ac:picMkLst>
        </pc:picChg>
        <pc:picChg chg="mod">
          <ac:chgData name="Juan David Botero Alvarez" userId="S::juan.botero@student.ie.edu::429d0b3d-dfc4-48a0-a257-e29fb1b1d5f0" providerId="AD" clId="Web-{B5766C08-798B-C0DF-F537-EECDFE98AF0E}" dt="2019-06-05T14:23:30.196" v="89" actId="1076"/>
          <ac:picMkLst>
            <pc:docMk/>
            <pc:sldMk cId="752216926" sldId="266"/>
            <ac:picMk id="23" creationId="{781AB285-62D3-2248-BA36-EDF7DFEEB953}"/>
          </ac:picMkLst>
        </pc:picChg>
        <pc:picChg chg="add mod">
          <ac:chgData name="Juan David Botero Alvarez" userId="S::juan.botero@student.ie.edu::429d0b3d-dfc4-48a0-a257-e29fb1b1d5f0" providerId="AD" clId="Web-{B5766C08-798B-C0DF-F537-EECDFE98AF0E}" dt="2019-06-05T14:23:35.384" v="91" actId="1076"/>
          <ac:picMkLst>
            <pc:docMk/>
            <pc:sldMk cId="752216926" sldId="266"/>
            <ac:picMk id="24" creationId="{8381B560-041A-433C-8D05-EB4BEA1BFE13}"/>
          </ac:picMkLst>
        </pc:picChg>
        <pc:picChg chg="add mod">
          <ac:chgData name="Juan David Botero Alvarez" userId="S::juan.botero@student.ie.edu::429d0b3d-dfc4-48a0-a257-e29fb1b1d5f0" providerId="AD" clId="Web-{B5766C08-798B-C0DF-F537-EECDFE98AF0E}" dt="2019-06-05T14:25:16.336" v="161" actId="1076"/>
          <ac:picMkLst>
            <pc:docMk/>
            <pc:sldMk cId="752216926" sldId="266"/>
            <ac:picMk id="26" creationId="{25B77671-B21E-4957-A73A-0804600696EE}"/>
          </ac:picMkLst>
        </pc:picChg>
        <pc:picChg chg="add mod">
          <ac:chgData name="Juan David Botero Alvarez" userId="S::juan.botero@student.ie.edu::429d0b3d-dfc4-48a0-a257-e29fb1b1d5f0" providerId="AD" clId="Web-{B5766C08-798B-C0DF-F537-EECDFE98AF0E}" dt="2019-06-05T14:32:33.507" v="188" actId="1076"/>
          <ac:picMkLst>
            <pc:docMk/>
            <pc:sldMk cId="752216926" sldId="266"/>
            <ac:picMk id="27" creationId="{9C6E4873-7131-46BF-B1C0-C9B87D676E47}"/>
          </ac:picMkLst>
        </pc:picChg>
        <pc:picChg chg="del">
          <ac:chgData name="Juan David Botero Alvarez" userId="S::juan.botero@student.ie.edu::429d0b3d-dfc4-48a0-a257-e29fb1b1d5f0" providerId="AD" clId="Web-{B5766C08-798B-C0DF-F537-EECDFE98AF0E}" dt="2019-06-05T13:49:42.452" v="19"/>
          <ac:picMkLst>
            <pc:docMk/>
            <pc:sldMk cId="752216926" sldId="266"/>
            <ac:picMk id="27" creationId="{C4E74452-C92A-4946-9673-A97C9B42BD8E}"/>
          </ac:picMkLst>
        </pc:picChg>
        <pc:picChg chg="del mod">
          <ac:chgData name="Juan David Botero Alvarez" userId="S::juan.botero@student.ie.edu::429d0b3d-dfc4-48a0-a257-e29fb1b1d5f0" providerId="AD" clId="Web-{B5766C08-798B-C0DF-F537-EECDFE98AF0E}" dt="2019-06-05T14:00:56.982" v="50"/>
          <ac:picMkLst>
            <pc:docMk/>
            <pc:sldMk cId="752216926" sldId="266"/>
            <ac:picMk id="29" creationId="{6DC72D77-629B-4E47-9704-E601B5E06D63}"/>
          </ac:picMkLst>
        </pc:picChg>
      </pc:sldChg>
      <pc:sldChg chg="addSp delSp modSp modNotes">
        <pc:chgData name="Juan David Botero Alvarez" userId="S::juan.botero@student.ie.edu::429d0b3d-dfc4-48a0-a257-e29fb1b1d5f0" providerId="AD" clId="Web-{B5766C08-798B-C0DF-F537-EECDFE98AF0E}" dt="2019-06-05T14:39:44.834" v="317" actId="1076"/>
        <pc:sldMkLst>
          <pc:docMk/>
          <pc:sldMk cId="1649489561" sldId="272"/>
        </pc:sldMkLst>
        <pc:spChg chg="add mod">
          <ac:chgData name="Juan David Botero Alvarez" userId="S::juan.botero@student.ie.edu::429d0b3d-dfc4-48a0-a257-e29fb1b1d5f0" providerId="AD" clId="Web-{B5766C08-798B-C0DF-F537-EECDFE98AF0E}" dt="2019-06-05T14:35:01.241" v="261" actId="20577"/>
          <ac:spMkLst>
            <pc:docMk/>
            <pc:sldMk cId="1649489561" sldId="272"/>
            <ac:spMk id="2" creationId="{202B4D69-E695-4EED-AA59-9637D32D6B47}"/>
          </ac:spMkLst>
        </pc:spChg>
        <pc:spChg chg="mod">
          <ac:chgData name="Juan David Botero Alvarez" userId="S::juan.botero@student.ie.edu::429d0b3d-dfc4-48a0-a257-e29fb1b1d5f0" providerId="AD" clId="Web-{B5766C08-798B-C0DF-F537-EECDFE98AF0E}" dt="2019-06-05T14:39:09.459" v="305" actId="1076"/>
          <ac:spMkLst>
            <pc:docMk/>
            <pc:sldMk cId="1649489561" sldId="272"/>
            <ac:spMk id="5" creationId="{B6836C87-F082-4B4A-9046-D2F881B6E338}"/>
          </ac:spMkLst>
        </pc:spChg>
        <pc:spChg chg="add del mod">
          <ac:chgData name="Juan David Botero Alvarez" userId="S::juan.botero@student.ie.edu::429d0b3d-dfc4-48a0-a257-e29fb1b1d5f0" providerId="AD" clId="Web-{B5766C08-798B-C0DF-F537-EECDFE98AF0E}" dt="2019-06-05T14:37:50.897" v="275"/>
          <ac:spMkLst>
            <pc:docMk/>
            <pc:sldMk cId="1649489561" sldId="272"/>
            <ac:spMk id="14" creationId="{1A405AD9-4DED-411F-8537-D17F5CEA8B0D}"/>
          </ac:spMkLst>
        </pc:spChg>
        <pc:spChg chg="add del mod">
          <ac:chgData name="Juan David Botero Alvarez" userId="S::juan.botero@student.ie.edu::429d0b3d-dfc4-48a0-a257-e29fb1b1d5f0" providerId="AD" clId="Web-{B5766C08-798B-C0DF-F537-EECDFE98AF0E}" dt="2019-06-05T14:37:59.537" v="279"/>
          <ac:spMkLst>
            <pc:docMk/>
            <pc:sldMk cId="1649489561" sldId="272"/>
            <ac:spMk id="15" creationId="{FF839FF4-F0A2-4197-A9D9-FA7C3AA5517F}"/>
          </ac:spMkLst>
        </pc:spChg>
        <pc:picChg chg="add mod">
          <ac:chgData name="Juan David Botero Alvarez" userId="S::juan.botero@student.ie.edu::429d0b3d-dfc4-48a0-a257-e29fb1b1d5f0" providerId="AD" clId="Web-{B5766C08-798B-C0DF-F537-EECDFE98AF0E}" dt="2019-06-05T14:37:03.209" v="265" actId="1076"/>
          <ac:picMkLst>
            <pc:docMk/>
            <pc:sldMk cId="1649489561" sldId="272"/>
            <ac:picMk id="3" creationId="{48C5B011-6072-4046-B543-E69499BEA611}"/>
          </ac:picMkLst>
        </pc:picChg>
        <pc:picChg chg="mod">
          <ac:chgData name="Juan David Botero Alvarez" userId="S::juan.botero@student.ie.edu::429d0b3d-dfc4-48a0-a257-e29fb1b1d5f0" providerId="AD" clId="Web-{B5766C08-798B-C0DF-F537-EECDFE98AF0E}" dt="2019-06-05T14:39:44.818" v="316" actId="1076"/>
          <ac:picMkLst>
            <pc:docMk/>
            <pc:sldMk cId="1649489561" sldId="272"/>
            <ac:picMk id="4" creationId="{580976B6-038C-4BDA-8BCE-F4635E881E4F}"/>
          </ac:picMkLst>
        </pc:picChg>
        <pc:picChg chg="mod">
          <ac:chgData name="Juan David Botero Alvarez" userId="S::juan.botero@student.ie.edu::429d0b3d-dfc4-48a0-a257-e29fb1b1d5f0" providerId="AD" clId="Web-{B5766C08-798B-C0DF-F537-EECDFE98AF0E}" dt="2019-06-05T14:39:44.725" v="313" actId="1076"/>
          <ac:picMkLst>
            <pc:docMk/>
            <pc:sldMk cId="1649489561" sldId="272"/>
            <ac:picMk id="6" creationId="{25669C9B-5710-4BB2-996B-4E0AA295A7D3}"/>
          </ac:picMkLst>
        </pc:picChg>
        <pc:picChg chg="mod">
          <ac:chgData name="Juan David Botero Alvarez" userId="S::juan.botero@student.ie.edu::429d0b3d-dfc4-48a0-a257-e29fb1b1d5f0" providerId="AD" clId="Web-{B5766C08-798B-C0DF-F537-EECDFE98AF0E}" dt="2019-06-05T14:39:44.740" v="314" actId="1076"/>
          <ac:picMkLst>
            <pc:docMk/>
            <pc:sldMk cId="1649489561" sldId="272"/>
            <ac:picMk id="7" creationId="{892FC77A-8391-EE48-8226-A190B02F2A2D}"/>
          </ac:picMkLst>
        </pc:picChg>
        <pc:picChg chg="mod">
          <ac:chgData name="Juan David Botero Alvarez" userId="S::juan.botero@student.ie.edu::429d0b3d-dfc4-48a0-a257-e29fb1b1d5f0" providerId="AD" clId="Web-{B5766C08-798B-C0DF-F537-EECDFE98AF0E}" dt="2019-06-05T14:39:44.834" v="317" actId="1076"/>
          <ac:picMkLst>
            <pc:docMk/>
            <pc:sldMk cId="1649489561" sldId="272"/>
            <ac:picMk id="8" creationId="{CBC3DB5A-516E-40F7-AF9A-415BC69517D9}"/>
          </ac:picMkLst>
        </pc:picChg>
        <pc:picChg chg="mod">
          <ac:chgData name="Juan David Botero Alvarez" userId="S::juan.botero@student.ie.edu::429d0b3d-dfc4-48a0-a257-e29fb1b1d5f0" providerId="AD" clId="Web-{B5766C08-798B-C0DF-F537-EECDFE98AF0E}" dt="2019-06-05T14:39:44.787" v="315" actId="1076"/>
          <ac:picMkLst>
            <pc:docMk/>
            <pc:sldMk cId="1649489561" sldId="272"/>
            <ac:picMk id="11" creationId="{5D113917-434E-47A6-9E34-86CC64D66D1E}"/>
          </ac:picMkLst>
        </pc:picChg>
      </pc:sldChg>
      <pc:sldChg chg="addSp delSp modSp">
        <pc:chgData name="Juan David Botero Alvarez" userId="S::juan.botero@student.ie.edu::429d0b3d-dfc4-48a0-a257-e29fb1b1d5f0" providerId="AD" clId="Web-{B5766C08-798B-C0DF-F537-EECDFE98AF0E}" dt="2019-06-05T14:33:56.694" v="203" actId="1076"/>
        <pc:sldMkLst>
          <pc:docMk/>
          <pc:sldMk cId="3140807147" sldId="274"/>
        </pc:sldMkLst>
        <pc:spChg chg="add mod">
          <ac:chgData name="Juan David Botero Alvarez" userId="S::juan.botero@student.ie.edu::429d0b3d-dfc4-48a0-a257-e29fb1b1d5f0" providerId="AD" clId="Web-{B5766C08-798B-C0DF-F537-EECDFE98AF0E}" dt="2019-06-05T14:33:37.210" v="199" actId="20577"/>
          <ac:spMkLst>
            <pc:docMk/>
            <pc:sldMk cId="3140807147" sldId="274"/>
            <ac:spMk id="2" creationId="{20A65CB7-FC66-4A15-AB6C-E0B6DB7E3D95}"/>
          </ac:spMkLst>
        </pc:spChg>
        <pc:spChg chg="del">
          <ac:chgData name="Juan David Botero Alvarez" userId="S::juan.botero@student.ie.edu::429d0b3d-dfc4-48a0-a257-e29fb1b1d5f0" providerId="AD" clId="Web-{B5766C08-798B-C0DF-F537-EECDFE98AF0E}" dt="2019-06-05T14:33:29.835" v="190"/>
          <ac:spMkLst>
            <pc:docMk/>
            <pc:sldMk cId="3140807147" sldId="274"/>
            <ac:spMk id="4" creationId="{D0120244-74C3-4446-AFFD-78F82F05D4A4}"/>
          </ac:spMkLst>
        </pc:spChg>
        <pc:picChg chg="mod">
          <ac:chgData name="Juan David Botero Alvarez" userId="S::juan.botero@student.ie.edu::429d0b3d-dfc4-48a0-a257-e29fb1b1d5f0" providerId="AD" clId="Web-{B5766C08-798B-C0DF-F537-EECDFE98AF0E}" dt="2019-06-05T14:33:56.694" v="203" actId="1076"/>
          <ac:picMkLst>
            <pc:docMk/>
            <pc:sldMk cId="3140807147" sldId="274"/>
            <ac:picMk id="21" creationId="{5CF3E545-7E0F-4ACE-BA38-11EC341E71D9}"/>
          </ac:picMkLst>
        </pc:picChg>
      </pc:sldChg>
    </pc:docChg>
  </pc:docChgLst>
  <pc:docChgLst>
    <pc:chgData name="Juan Pablo Larrondo Petricio" userId="S::jplarrondo@student.ie.edu::5d65fc26-8871-4c8b-989a-866f645caef6" providerId="AD" clId="Web-{1E048680-8F15-C912-7B33-6EC6BA52421B}"/>
    <pc:docChg chg="modSld">
      <pc:chgData name="Juan Pablo Larrondo Petricio" userId="S::jplarrondo@student.ie.edu::5d65fc26-8871-4c8b-989a-866f645caef6" providerId="AD" clId="Web-{1E048680-8F15-C912-7B33-6EC6BA52421B}" dt="2019-06-05T13:50:57.914" v="7"/>
      <pc:docMkLst>
        <pc:docMk/>
      </pc:docMkLst>
      <pc:sldChg chg="addSp delSp modSp">
        <pc:chgData name="Juan Pablo Larrondo Petricio" userId="S::jplarrondo@student.ie.edu::5d65fc26-8871-4c8b-989a-866f645caef6" providerId="AD" clId="Web-{1E048680-8F15-C912-7B33-6EC6BA52421B}" dt="2019-06-05T13:50:57.914" v="7"/>
        <pc:sldMkLst>
          <pc:docMk/>
          <pc:sldMk cId="1520790659" sldId="270"/>
        </pc:sldMkLst>
        <pc:spChg chg="del">
          <ac:chgData name="Juan Pablo Larrondo Petricio" userId="S::jplarrondo@student.ie.edu::5d65fc26-8871-4c8b-989a-866f645caef6" providerId="AD" clId="Web-{1E048680-8F15-C912-7B33-6EC6BA52421B}" dt="2019-06-05T13:50:13.539" v="0"/>
          <ac:spMkLst>
            <pc:docMk/>
            <pc:sldMk cId="1520790659" sldId="270"/>
            <ac:spMk id="3" creationId="{43C08017-28B1-E948-9FD9-16FBD7A91728}"/>
          </ac:spMkLst>
        </pc:spChg>
        <pc:picChg chg="del">
          <ac:chgData name="Juan Pablo Larrondo Petricio" userId="S::jplarrondo@student.ie.edu::5d65fc26-8871-4c8b-989a-866f645caef6" providerId="AD" clId="Web-{1E048680-8F15-C912-7B33-6EC6BA52421B}" dt="2019-06-05T13:50:13.539" v="1"/>
          <ac:picMkLst>
            <pc:docMk/>
            <pc:sldMk cId="1520790659" sldId="270"/>
            <ac:picMk id="2" creationId="{6F0BD34D-2B34-4DF6-BBF4-63AB4C9B8884}"/>
          </ac:picMkLst>
        </pc:picChg>
        <pc:picChg chg="add del mod">
          <ac:chgData name="Juan Pablo Larrondo Petricio" userId="S::jplarrondo@student.ie.edu::5d65fc26-8871-4c8b-989a-866f645caef6" providerId="AD" clId="Web-{1E048680-8F15-C912-7B33-6EC6BA52421B}" dt="2019-06-05T13:50:57.914" v="7"/>
          <ac:picMkLst>
            <pc:docMk/>
            <pc:sldMk cId="1520790659" sldId="270"/>
            <ac:picMk id="4" creationId="{28CC845D-4B00-48D2-B364-606A130D3829}"/>
          </ac:picMkLst>
        </pc:picChg>
      </pc:sldChg>
    </pc:docChg>
  </pc:docChgLst>
  <pc:docChgLst>
    <pc:chgData name="Juan David Botero Alvarez" userId="S::juan.botero@student.ie.edu::429d0b3d-dfc4-48a0-a257-e29fb1b1d5f0" providerId="AD" clId="Web-{C0594D12-A3C7-4DC8-7257-397A7DC4E624}"/>
    <pc:docChg chg="addSld delSld modSld">
      <pc:chgData name="Juan David Botero Alvarez" userId="S::juan.botero@student.ie.edu::429d0b3d-dfc4-48a0-a257-e29fb1b1d5f0" providerId="AD" clId="Web-{C0594D12-A3C7-4DC8-7257-397A7DC4E624}" dt="2019-06-03T14:49:45.196" v="978" actId="20577"/>
      <pc:docMkLst>
        <pc:docMk/>
      </pc:docMkLst>
      <pc:sldChg chg="modSp">
        <pc:chgData name="Juan David Botero Alvarez" userId="S::juan.botero@student.ie.edu::429d0b3d-dfc4-48a0-a257-e29fb1b1d5f0" providerId="AD" clId="Web-{C0594D12-A3C7-4DC8-7257-397A7DC4E624}" dt="2019-06-03T14:29:56.615" v="826" actId="1076"/>
        <pc:sldMkLst>
          <pc:docMk/>
          <pc:sldMk cId="109857222" sldId="256"/>
        </pc:sldMkLst>
        <pc:spChg chg="mod">
          <ac:chgData name="Juan David Botero Alvarez" userId="S::juan.botero@student.ie.edu::429d0b3d-dfc4-48a0-a257-e29fb1b1d5f0" providerId="AD" clId="Web-{C0594D12-A3C7-4DC8-7257-397A7DC4E624}" dt="2019-06-03T14:29:56.615" v="826" actId="1076"/>
          <ac:spMkLst>
            <pc:docMk/>
            <pc:sldMk cId="109857222" sldId="256"/>
            <ac:spMk id="2" creationId="{00000000-0000-0000-0000-000000000000}"/>
          </ac:spMkLst>
        </pc:spChg>
      </pc:sldChg>
      <pc:sldChg chg="modSp">
        <pc:chgData name="Juan David Botero Alvarez" userId="S::juan.botero@student.ie.edu::429d0b3d-dfc4-48a0-a257-e29fb1b1d5f0" providerId="AD" clId="Web-{C0594D12-A3C7-4DC8-7257-397A7DC4E624}" dt="2019-06-03T14:49:45.196" v="977" actId="20577"/>
        <pc:sldMkLst>
          <pc:docMk/>
          <pc:sldMk cId="424387413" sldId="258"/>
        </pc:sldMkLst>
        <pc:spChg chg="mod">
          <ac:chgData name="Juan David Botero Alvarez" userId="S::juan.botero@student.ie.edu::429d0b3d-dfc4-48a0-a257-e29fb1b1d5f0" providerId="AD" clId="Web-{C0594D12-A3C7-4DC8-7257-397A7DC4E624}" dt="2019-06-03T14:49:45.196" v="977" actId="20577"/>
          <ac:spMkLst>
            <pc:docMk/>
            <pc:sldMk cId="424387413" sldId="258"/>
            <ac:spMk id="25" creationId="{8F14BC9A-FF71-4C4D-B79E-392A7834E4DD}"/>
          </ac:spMkLst>
        </pc:spChg>
        <pc:spChg chg="mod">
          <ac:chgData name="Juan David Botero Alvarez" userId="S::juan.botero@student.ie.edu::429d0b3d-dfc4-48a0-a257-e29fb1b1d5f0" providerId="AD" clId="Web-{C0594D12-A3C7-4DC8-7257-397A7DC4E624}" dt="2019-06-03T14:41:19.342" v="972" actId="20577"/>
          <ac:spMkLst>
            <pc:docMk/>
            <pc:sldMk cId="424387413" sldId="258"/>
            <ac:spMk id="26" creationId="{36B21A66-AA48-AF4E-95B5-02A8F41CD961}"/>
          </ac:spMkLst>
        </pc:spChg>
      </pc:sldChg>
    </pc:docChg>
  </pc:docChgLst>
  <pc:docChgLst>
    <pc:chgData name="Rosalía Contreras Moreira" userId="S::rosalia.contreras@student.ie.edu::3da3a5f9-33c0-4429-8f47-9e07633ef5b1" providerId="AD" clId="Web-{71561D71-B038-D244-FBBF-8B0050125BB0}"/>
    <pc:docChg chg="addSld modSld">
      <pc:chgData name="Rosalía Contreras Moreira" userId="S::rosalia.contreras@student.ie.edu::3da3a5f9-33c0-4429-8f47-9e07633ef5b1" providerId="AD" clId="Web-{71561D71-B038-D244-FBBF-8B0050125BB0}" dt="2019-06-05T14:25:50.663" v="173" actId="14100"/>
      <pc:docMkLst>
        <pc:docMk/>
      </pc:docMkLst>
      <pc:sldChg chg="addSp delSp modSp new">
        <pc:chgData name="Rosalía Contreras Moreira" userId="S::rosalia.contreras@student.ie.edu::3da3a5f9-33c0-4429-8f47-9e07633ef5b1" providerId="AD" clId="Web-{71561D71-B038-D244-FBBF-8B0050125BB0}" dt="2019-06-05T14:25:50.663" v="173" actId="14100"/>
        <pc:sldMkLst>
          <pc:docMk/>
          <pc:sldMk cId="3140807147" sldId="274"/>
        </pc:sldMkLst>
        <pc:spChg chg="add mod">
          <ac:chgData name="Rosalía Contreras Moreira" userId="S::rosalia.contreras@student.ie.edu::3da3a5f9-33c0-4429-8f47-9e07633ef5b1" providerId="AD" clId="Web-{71561D71-B038-D244-FBBF-8B0050125BB0}" dt="2019-06-05T13:45:00.391" v="108" actId="1076"/>
          <ac:spMkLst>
            <pc:docMk/>
            <pc:sldMk cId="3140807147" sldId="274"/>
            <ac:spMk id="4" creationId="{D0120244-74C3-4446-AFFD-78F82F05D4A4}"/>
          </ac:spMkLst>
        </pc:spChg>
        <pc:spChg chg="add del mod">
          <ac:chgData name="Rosalía Contreras Moreira" userId="S::rosalia.contreras@student.ie.edu::3da3a5f9-33c0-4429-8f47-9e07633ef5b1" providerId="AD" clId="Web-{71561D71-B038-D244-FBBF-8B0050125BB0}" dt="2019-06-05T14:17:36.333" v="129"/>
          <ac:spMkLst>
            <pc:docMk/>
            <pc:sldMk cId="3140807147" sldId="274"/>
            <ac:spMk id="11" creationId="{97AA682F-7769-4466-A4E9-C351C27FCD09}"/>
          </ac:spMkLst>
        </pc:spChg>
        <pc:picChg chg="add del mod">
          <ac:chgData name="Rosalía Contreras Moreira" userId="S::rosalia.contreras@student.ie.edu::3da3a5f9-33c0-4429-8f47-9e07633ef5b1" providerId="AD" clId="Web-{71561D71-B038-D244-FBBF-8B0050125BB0}" dt="2019-06-05T14:07:22.534" v="109"/>
          <ac:picMkLst>
            <pc:docMk/>
            <pc:sldMk cId="3140807147" sldId="274"/>
            <ac:picMk id="2" creationId="{54794544-B0C8-41A6-BE6D-75C772D5E66D}"/>
          </ac:picMkLst>
        </pc:picChg>
        <pc:picChg chg="add mod">
          <ac:chgData name="Rosalía Contreras Moreira" userId="S::rosalia.contreras@student.ie.edu::3da3a5f9-33c0-4429-8f47-9e07633ef5b1" providerId="AD" clId="Web-{71561D71-B038-D244-FBBF-8B0050125BB0}" dt="2019-06-05T14:18:19.114" v="136" actId="14100"/>
          <ac:picMkLst>
            <pc:docMk/>
            <pc:sldMk cId="3140807147" sldId="274"/>
            <ac:picMk id="3" creationId="{D8654882-21CD-4CDC-8F93-D261C5317143}"/>
          </ac:picMkLst>
        </pc:picChg>
        <pc:picChg chg="add del mod">
          <ac:chgData name="Rosalía Contreras Moreira" userId="S::rosalia.contreras@student.ie.edu::3da3a5f9-33c0-4429-8f47-9e07633ef5b1" providerId="AD" clId="Web-{71561D71-B038-D244-FBBF-8B0050125BB0}" dt="2019-06-05T14:15:52.676" v="117"/>
          <ac:picMkLst>
            <pc:docMk/>
            <pc:sldMk cId="3140807147" sldId="274"/>
            <ac:picMk id="7" creationId="{185B2F95-0239-4F44-84A4-5782265D6BC5}"/>
          </ac:picMkLst>
        </pc:picChg>
        <pc:picChg chg="add mod">
          <ac:chgData name="Rosalía Contreras Moreira" userId="S::rosalia.contreras@student.ie.edu::3da3a5f9-33c0-4429-8f47-9e07633ef5b1" providerId="AD" clId="Web-{71561D71-B038-D244-FBBF-8B0050125BB0}" dt="2019-06-05T14:18:21.271" v="137" actId="1076"/>
          <ac:picMkLst>
            <pc:docMk/>
            <pc:sldMk cId="3140807147" sldId="274"/>
            <ac:picMk id="9" creationId="{90585EBA-554B-4BD8-A4D1-37669809572B}"/>
          </ac:picMkLst>
        </pc:picChg>
        <pc:picChg chg="add mod">
          <ac:chgData name="Rosalía Contreras Moreira" userId="S::rosalia.contreras@student.ie.edu::3da3a5f9-33c0-4429-8f47-9e07633ef5b1" providerId="AD" clId="Web-{71561D71-B038-D244-FBBF-8B0050125BB0}" dt="2019-06-05T14:24:39.741" v="155" actId="1076"/>
          <ac:picMkLst>
            <pc:docMk/>
            <pc:sldMk cId="3140807147" sldId="274"/>
            <ac:picMk id="13" creationId="{138B2C36-991D-4F32-BD6A-2AB632AF513A}"/>
          </ac:picMkLst>
        </pc:picChg>
        <pc:picChg chg="add mod">
          <ac:chgData name="Rosalía Contreras Moreira" userId="S::rosalia.contreras@student.ie.edu::3da3a5f9-33c0-4429-8f47-9e07633ef5b1" providerId="AD" clId="Web-{71561D71-B038-D244-FBBF-8B0050125BB0}" dt="2019-06-05T14:24:36.647" v="154" actId="1076"/>
          <ac:picMkLst>
            <pc:docMk/>
            <pc:sldMk cId="3140807147" sldId="274"/>
            <ac:picMk id="15" creationId="{731A444C-3030-4548-9D74-5C2C39E0DBD1}"/>
          </ac:picMkLst>
        </pc:picChg>
        <pc:picChg chg="add del mod">
          <ac:chgData name="Rosalía Contreras Moreira" userId="S::rosalia.contreras@student.ie.edu::3da3a5f9-33c0-4429-8f47-9e07633ef5b1" providerId="AD" clId="Web-{71561D71-B038-D244-FBBF-8B0050125BB0}" dt="2019-06-05T14:24:08.694" v="152"/>
          <ac:picMkLst>
            <pc:docMk/>
            <pc:sldMk cId="3140807147" sldId="274"/>
            <ac:picMk id="17" creationId="{BC8E50A9-0DD2-44B2-A4D0-1BCD23DCAB60}"/>
          </ac:picMkLst>
        </pc:picChg>
        <pc:picChg chg="add mod">
          <ac:chgData name="Rosalía Contreras Moreira" userId="S::rosalia.contreras@student.ie.edu::3da3a5f9-33c0-4429-8f47-9e07633ef5b1" providerId="AD" clId="Web-{71561D71-B038-D244-FBBF-8B0050125BB0}" dt="2019-06-05T14:25:06.397" v="162" actId="1076"/>
          <ac:picMkLst>
            <pc:docMk/>
            <pc:sldMk cId="3140807147" sldId="274"/>
            <ac:picMk id="19" creationId="{85767953-0397-45F8-B839-884E19172ED4}"/>
          </ac:picMkLst>
        </pc:picChg>
        <pc:picChg chg="add mod">
          <ac:chgData name="Rosalía Contreras Moreira" userId="S::rosalia.contreras@student.ie.edu::3da3a5f9-33c0-4429-8f47-9e07633ef5b1" providerId="AD" clId="Web-{71561D71-B038-D244-FBBF-8B0050125BB0}" dt="2019-06-05T14:25:50.663" v="173" actId="14100"/>
          <ac:picMkLst>
            <pc:docMk/>
            <pc:sldMk cId="3140807147" sldId="274"/>
            <ac:picMk id="21" creationId="{5CF3E545-7E0F-4ACE-BA38-11EC341E71D9}"/>
          </ac:picMkLst>
        </pc:picChg>
        <pc:cxnChg chg="add del mod">
          <ac:chgData name="Rosalía Contreras Moreira" userId="S::rosalia.contreras@student.ie.edu::3da3a5f9-33c0-4429-8f47-9e07633ef5b1" providerId="AD" clId="Web-{71561D71-B038-D244-FBBF-8B0050125BB0}" dt="2019-06-05T14:17:59.536" v="133"/>
          <ac:cxnSpMkLst>
            <pc:docMk/>
            <pc:sldMk cId="3140807147" sldId="274"/>
            <ac:cxnSpMk id="12" creationId="{5B1879C1-E1DA-44A3-9569-F40A396FFB01}"/>
          </ac:cxnSpMkLst>
        </pc:cxnChg>
      </pc:sldChg>
    </pc:docChg>
  </pc:docChgLst>
  <pc:docChgLst>
    <pc:chgData name="Juan Pablo Larrondo Petricio" userId="S::jplarrondo@student.ie.edu::5d65fc26-8871-4c8b-989a-866f645caef6" providerId="AD" clId="Web-{77F5EA3E-5CD8-D447-2E3A-9CBA98571712}"/>
    <pc:docChg chg="addSld modSld">
      <pc:chgData name="Juan Pablo Larrondo Petricio" userId="S::jplarrondo@student.ie.edu::5d65fc26-8871-4c8b-989a-866f645caef6" providerId="AD" clId="Web-{77F5EA3E-5CD8-D447-2E3A-9CBA98571712}" dt="2019-06-03T15:14:53.841" v="6" actId="1076"/>
      <pc:docMkLst>
        <pc:docMk/>
      </pc:docMkLst>
      <pc:sldChg chg="modSp">
        <pc:chgData name="Juan Pablo Larrondo Petricio" userId="S::jplarrondo@student.ie.edu::5d65fc26-8871-4c8b-989a-866f645caef6" providerId="AD" clId="Web-{77F5EA3E-5CD8-D447-2E3A-9CBA98571712}" dt="2019-06-03T15:14:53.841" v="6" actId="1076"/>
        <pc:sldMkLst>
          <pc:docMk/>
          <pc:sldMk cId="109857222" sldId="256"/>
        </pc:sldMkLst>
        <pc:grpChg chg="mod">
          <ac:chgData name="Juan Pablo Larrondo Petricio" userId="S::jplarrondo@student.ie.edu::5d65fc26-8871-4c8b-989a-866f645caef6" providerId="AD" clId="Web-{77F5EA3E-5CD8-D447-2E3A-9CBA98571712}" dt="2019-06-03T15:14:53.841" v="6" actId="1076"/>
          <ac:grpSpMkLst>
            <pc:docMk/>
            <pc:sldMk cId="109857222" sldId="256"/>
            <ac:grpSpMk id="20" creationId="{95AA21A7-515D-004A-AB20-7EDECB36B323}"/>
          </ac:grpSpMkLst>
        </pc:grpChg>
      </pc:sldChg>
    </pc:docChg>
  </pc:docChgLst>
  <pc:docChgLst>
    <pc:chgData name="Juan David Botero Alvarez" userId="S::juan.botero@student.ie.edu::429d0b3d-dfc4-48a0-a257-e29fb1b1d5f0" providerId="AD" clId="Web-{4169CB0C-5417-A719-40B4-2F44E10EB895}"/>
    <pc:docChg chg="delSld modSld sldOrd">
      <pc:chgData name="Juan David Botero Alvarez" userId="S::juan.botero@student.ie.edu::429d0b3d-dfc4-48a0-a257-e29fb1b1d5f0" providerId="AD" clId="Web-{4169CB0C-5417-A719-40B4-2F44E10EB895}" dt="2019-06-05T15:13:06.003" v="14" actId="20577"/>
      <pc:docMkLst>
        <pc:docMk/>
      </pc:docMkLst>
      <pc:sldChg chg="modSp">
        <pc:chgData name="Juan David Botero Alvarez" userId="S::juan.botero@student.ie.edu::429d0b3d-dfc4-48a0-a257-e29fb1b1d5f0" providerId="AD" clId="Web-{4169CB0C-5417-A719-40B4-2F44E10EB895}" dt="2019-06-05T14:41:45.622" v="4" actId="20577"/>
        <pc:sldMkLst>
          <pc:docMk/>
          <pc:sldMk cId="424387413" sldId="258"/>
        </pc:sldMkLst>
        <pc:spChg chg="mod">
          <ac:chgData name="Juan David Botero Alvarez" userId="S::juan.botero@student.ie.edu::429d0b3d-dfc4-48a0-a257-e29fb1b1d5f0" providerId="AD" clId="Web-{4169CB0C-5417-A719-40B4-2F44E10EB895}" dt="2019-06-05T14:41:45.622" v="4" actId="20577"/>
          <ac:spMkLst>
            <pc:docMk/>
            <pc:sldMk cId="424387413" sldId="258"/>
            <ac:spMk id="26" creationId="{36B21A66-AA48-AF4E-95B5-02A8F41CD961}"/>
          </ac:spMkLst>
        </pc:spChg>
        <pc:graphicFrameChg chg="mod">
          <ac:chgData name="Juan David Botero Alvarez" userId="S::juan.botero@student.ie.edu::429d0b3d-dfc4-48a0-a257-e29fb1b1d5f0" providerId="AD" clId="Web-{4169CB0C-5417-A719-40B4-2F44E10EB895}" dt="2019-06-05T14:41:29.638" v="0" actId="1076"/>
          <ac:graphicFrameMkLst>
            <pc:docMk/>
            <pc:sldMk cId="424387413" sldId="258"/>
            <ac:graphicFrameMk id="8" creationId="{9569C3D6-AD43-EC44-A5F4-BB3C74FC21B4}"/>
          </ac:graphicFrameMkLst>
        </pc:graphicFrameChg>
        <pc:graphicFrameChg chg="mod">
          <ac:chgData name="Juan David Botero Alvarez" userId="S::juan.botero@student.ie.edu::429d0b3d-dfc4-48a0-a257-e29fb1b1d5f0" providerId="AD" clId="Web-{4169CB0C-5417-A719-40B4-2F44E10EB895}" dt="2019-06-05T14:41:37.872" v="1" actId="14100"/>
          <ac:graphicFrameMkLst>
            <pc:docMk/>
            <pc:sldMk cId="424387413" sldId="258"/>
            <ac:graphicFrameMk id="28" creationId="{BEBD6F70-B78B-1C4C-BF52-EAD626E8B402}"/>
          </ac:graphicFrameMkLst>
        </pc:graphicFrameChg>
      </pc:sldChg>
      <pc:sldChg chg="modSp">
        <pc:chgData name="Juan David Botero Alvarez" userId="S::juan.botero@student.ie.edu::429d0b3d-dfc4-48a0-a257-e29fb1b1d5f0" providerId="AD" clId="Web-{4169CB0C-5417-A719-40B4-2F44E10EB895}" dt="2019-06-05T15:13:06.003" v="14" actId="20577"/>
        <pc:sldMkLst>
          <pc:docMk/>
          <pc:sldMk cId="1556233465" sldId="260"/>
        </pc:sldMkLst>
        <pc:spChg chg="mod">
          <ac:chgData name="Juan David Botero Alvarez" userId="S::juan.botero@student.ie.edu::429d0b3d-dfc4-48a0-a257-e29fb1b1d5f0" providerId="AD" clId="Web-{4169CB0C-5417-A719-40B4-2F44E10EB895}" dt="2019-06-05T15:13:06.003" v="14" actId="20577"/>
          <ac:spMkLst>
            <pc:docMk/>
            <pc:sldMk cId="1556233465" sldId="260"/>
            <ac:spMk id="24" creationId="{B51966C8-EEAC-414F-B528-CAA5069FDB6E}"/>
          </ac:spMkLst>
        </pc:spChg>
        <pc:spChg chg="mod">
          <ac:chgData name="Juan David Botero Alvarez" userId="S::juan.botero@student.ie.edu::429d0b3d-dfc4-48a0-a257-e29fb1b1d5f0" providerId="AD" clId="Web-{4169CB0C-5417-A719-40B4-2F44E10EB895}" dt="2019-06-05T15:13:03.503" v="13" actId="20577"/>
          <ac:spMkLst>
            <pc:docMk/>
            <pc:sldMk cId="1556233465" sldId="260"/>
            <ac:spMk id="25" creationId="{DDB86BAA-55BD-6B46-A6BB-45208D3D7B7D}"/>
          </ac:spMkLst>
        </pc:spChg>
      </pc:sldChg>
      <pc:sldChg chg="mod modShow">
        <pc:chgData name="Juan David Botero Alvarez" userId="S::juan.botero@student.ie.edu::429d0b3d-dfc4-48a0-a257-e29fb1b1d5f0" providerId="AD" clId="Web-{4169CB0C-5417-A719-40B4-2F44E10EB895}" dt="2019-06-05T15:12:07.940" v="9"/>
        <pc:sldMkLst>
          <pc:docMk/>
          <pc:sldMk cId="2566066036" sldId="262"/>
        </pc:sldMkLst>
      </pc:sldChg>
      <pc:sldChg chg="mod modShow">
        <pc:chgData name="Juan David Botero Alvarez" userId="S::juan.botero@student.ie.edu::429d0b3d-dfc4-48a0-a257-e29fb1b1d5f0" providerId="AD" clId="Web-{4169CB0C-5417-A719-40B4-2F44E10EB895}" dt="2019-06-05T15:12:03.096" v="8"/>
        <pc:sldMkLst>
          <pc:docMk/>
          <pc:sldMk cId="1940438154" sldId="263"/>
        </pc:sldMkLst>
      </pc:sldChg>
      <pc:sldChg chg="ord">
        <pc:chgData name="Juan David Botero Alvarez" userId="S::juan.botero@student.ie.edu::429d0b3d-dfc4-48a0-a257-e29fb1b1d5f0" providerId="AD" clId="Web-{4169CB0C-5417-A719-40B4-2F44E10EB895}" dt="2019-06-05T15:12:25.268" v="10"/>
        <pc:sldMkLst>
          <pc:docMk/>
          <pc:sldMk cId="1110250214" sldId="265"/>
        </pc:sldMkLst>
      </pc:sldChg>
      <pc:sldChg chg="mod modShow">
        <pc:chgData name="Juan David Botero Alvarez" userId="S::juan.botero@student.ie.edu::429d0b3d-dfc4-48a0-a257-e29fb1b1d5f0" providerId="AD" clId="Web-{4169CB0C-5417-A719-40B4-2F44E10EB895}" dt="2019-06-05T15:11:44.659" v="7"/>
        <pc:sldMkLst>
          <pc:docMk/>
          <pc:sldMk cId="4086891771" sldId="269"/>
        </pc:sldMkLst>
      </pc:sldChg>
      <pc:sldChg chg="mod modShow">
        <pc:chgData name="Juan David Botero Alvarez" userId="S::juan.botero@student.ie.edu::429d0b3d-dfc4-48a0-a257-e29fb1b1d5f0" providerId="AD" clId="Web-{4169CB0C-5417-A719-40B4-2F44E10EB895}" dt="2019-06-05T15:12:34.175" v="11"/>
        <pc:sldMkLst>
          <pc:docMk/>
          <pc:sldMk cId="1285085625" sldId="271"/>
        </pc:sldMkLst>
      </pc:sldChg>
      <pc:sldChg chg="del">
        <pc:chgData name="Juan David Botero Alvarez" userId="S::juan.botero@student.ie.edu::429d0b3d-dfc4-48a0-a257-e29fb1b1d5f0" providerId="AD" clId="Web-{4169CB0C-5417-A719-40B4-2F44E10EB895}" dt="2019-06-05T15:12:43.987" v="12"/>
        <pc:sldMkLst>
          <pc:docMk/>
          <pc:sldMk cId="1431779040" sldId="279"/>
        </pc:sldMkLst>
      </pc:sldChg>
    </pc:docChg>
  </pc:docChgLst>
  <pc:docChgLst>
    <pc:chgData name="Utkarsh Khemka" userId="S::khemkautkarsh@student.ie.edu::b9e598a3-02e8-457b-a7c2-07f5c86e5cf7" providerId="AD" clId="Web-{1453FC09-8965-941F-15D8-2E2E8AAFBBD2}"/>
    <pc:docChg chg="addSld sldOrd">
      <pc:chgData name="Utkarsh Khemka" userId="S::khemkautkarsh@student.ie.edu::b9e598a3-02e8-457b-a7c2-07f5c86e5cf7" providerId="AD" clId="Web-{1453FC09-8965-941F-15D8-2E2E8AAFBBD2}" dt="2019-06-05T14:50:01.847" v="2"/>
      <pc:docMkLst>
        <pc:docMk/>
      </pc:docMkLst>
      <pc:sldChg chg="new">
        <pc:chgData name="Utkarsh Khemka" userId="S::khemkautkarsh@student.ie.edu::b9e598a3-02e8-457b-a7c2-07f5c86e5cf7" providerId="AD" clId="Web-{1453FC09-8965-941F-15D8-2E2E8AAFBBD2}" dt="2019-06-05T13:13:05.052" v="0"/>
        <pc:sldMkLst>
          <pc:docMk/>
          <pc:sldMk cId="2831212902" sldId="271"/>
        </pc:sldMkLst>
      </pc:sldChg>
      <pc:sldChg chg="ord">
        <pc:chgData name="Utkarsh Khemka" userId="S::khemkautkarsh@student.ie.edu::b9e598a3-02e8-457b-a7c2-07f5c86e5cf7" providerId="AD" clId="Web-{1453FC09-8965-941F-15D8-2E2E8AAFBBD2}" dt="2019-06-05T13:27:15.791" v="1"/>
        <pc:sldMkLst>
          <pc:docMk/>
          <pc:sldMk cId="2831212902" sldId="273"/>
        </pc:sldMkLst>
      </pc:sldChg>
      <pc:sldChg chg="new">
        <pc:chgData name="Utkarsh Khemka" userId="S::khemkautkarsh@student.ie.edu::b9e598a3-02e8-457b-a7c2-07f5c86e5cf7" providerId="AD" clId="Web-{1453FC09-8965-941F-15D8-2E2E8AAFBBD2}" dt="2019-06-05T14:50:01.847" v="2"/>
        <pc:sldMkLst>
          <pc:docMk/>
          <pc:sldMk cId="1431779040" sldId="279"/>
        </pc:sldMkLst>
      </pc:sldChg>
    </pc:docChg>
  </pc:docChgLst>
  <pc:docChgLst>
    <pc:chgData name="Ekaterina Chunosova" userId="S::kate.chunosova@student.ie.edu::5c6ac274-c4f1-480b-9055-176083e1ba83" providerId="AD" clId="Web-{F11D76C1-155A-F709-E969-4059580DD3BC}"/>
    <pc:docChg chg="modSld">
      <pc:chgData name="Ekaterina Chunosova" userId="S::kate.chunosova@student.ie.edu::5c6ac274-c4f1-480b-9055-176083e1ba83" providerId="AD" clId="Web-{F11D76C1-155A-F709-E969-4059580DD3BC}" dt="2019-06-06T14:45:13.472" v="3" actId="14100"/>
      <pc:docMkLst>
        <pc:docMk/>
      </pc:docMkLst>
      <pc:sldChg chg="modSp">
        <pc:chgData name="Ekaterina Chunosova" userId="S::kate.chunosova@student.ie.edu::5c6ac274-c4f1-480b-9055-176083e1ba83" providerId="AD" clId="Web-{F11D76C1-155A-F709-E969-4059580DD3BC}" dt="2019-06-06T14:45:13.472" v="3" actId="14100"/>
        <pc:sldMkLst>
          <pc:docMk/>
          <pc:sldMk cId="1089256195" sldId="281"/>
        </pc:sldMkLst>
        <pc:spChg chg="mod">
          <ac:chgData name="Ekaterina Chunosova" userId="S::kate.chunosova@student.ie.edu::5c6ac274-c4f1-480b-9055-176083e1ba83" providerId="AD" clId="Web-{F11D76C1-155A-F709-E969-4059580DD3BC}" dt="2019-06-06T14:45:13.472" v="3" actId="14100"/>
          <ac:spMkLst>
            <pc:docMk/>
            <pc:sldMk cId="1089256195" sldId="281"/>
            <ac:spMk id="72" creationId="{08991A41-8E5F-405A-95F0-D7937CD884DC}"/>
          </ac:spMkLst>
        </pc:spChg>
      </pc:sldChg>
      <pc:sldChg chg="addSp delSp modSp">
        <pc:chgData name="Ekaterina Chunosova" userId="S::kate.chunosova@student.ie.edu::5c6ac274-c4f1-480b-9055-176083e1ba83" providerId="AD" clId="Web-{F11D76C1-155A-F709-E969-4059580DD3BC}" dt="2019-06-06T14:40:54.439" v="2"/>
        <pc:sldMkLst>
          <pc:docMk/>
          <pc:sldMk cId="2710440420" sldId="282"/>
        </pc:sldMkLst>
        <pc:grpChg chg="add del">
          <ac:chgData name="Ekaterina Chunosova" userId="S::kate.chunosova@student.ie.edu::5c6ac274-c4f1-480b-9055-176083e1ba83" providerId="AD" clId="Web-{F11D76C1-155A-F709-E969-4059580DD3BC}" dt="2019-06-06T14:40:54.439" v="2"/>
          <ac:grpSpMkLst>
            <pc:docMk/>
            <pc:sldMk cId="2710440420" sldId="282"/>
            <ac:grpSpMk id="77" creationId="{21C78CC2-597D-445A-8FF4-49A7328927DC}"/>
          </ac:grpSpMkLst>
        </pc:grpChg>
        <pc:picChg chg="mod">
          <ac:chgData name="Ekaterina Chunosova" userId="S::kate.chunosova@student.ie.edu::5c6ac274-c4f1-480b-9055-176083e1ba83" providerId="AD" clId="Web-{F11D76C1-155A-F709-E969-4059580DD3BC}" dt="2019-06-06T14:37:57.782" v="0" actId="1076"/>
          <ac:picMkLst>
            <pc:docMk/>
            <pc:sldMk cId="2710440420" sldId="282"/>
            <ac:picMk id="88" creationId="{1EABFB1F-3265-4762-917A-E47D3A68FF3C}"/>
          </ac:picMkLst>
        </pc:picChg>
      </pc:sldChg>
    </pc:docChg>
  </pc:docChgLst>
  <pc:docChgLst>
    <pc:chgData name="Juan David Botero Alvarez" userId="S::juan.botero@student.ie.edu::429d0b3d-dfc4-48a0-a257-e29fb1b1d5f0" providerId="AD" clId="Web-{DF5DD67F-AF37-4DBE-741A-A18A1C0DF89F}"/>
    <pc:docChg chg="modSld">
      <pc:chgData name="Juan David Botero Alvarez" userId="S::juan.botero@student.ie.edu::429d0b3d-dfc4-48a0-a257-e29fb1b1d5f0" providerId="AD" clId="Web-{DF5DD67F-AF37-4DBE-741A-A18A1C0DF89F}" dt="2019-06-06T14:37:18.152" v="33" actId="20577"/>
      <pc:docMkLst>
        <pc:docMk/>
      </pc:docMkLst>
      <pc:sldChg chg="delSp modSp">
        <pc:chgData name="Juan David Botero Alvarez" userId="S::juan.botero@student.ie.edu::429d0b3d-dfc4-48a0-a257-e29fb1b1d5f0" providerId="AD" clId="Web-{DF5DD67F-AF37-4DBE-741A-A18A1C0DF89F}" dt="2019-06-06T14:33:08.356" v="26" actId="1076"/>
        <pc:sldMkLst>
          <pc:docMk/>
          <pc:sldMk cId="424387413" sldId="258"/>
        </pc:sldMkLst>
        <pc:spChg chg="mod">
          <ac:chgData name="Juan David Botero Alvarez" userId="S::juan.botero@student.ie.edu::429d0b3d-dfc4-48a0-a257-e29fb1b1d5f0" providerId="AD" clId="Web-{DF5DD67F-AF37-4DBE-741A-A18A1C0DF89F}" dt="2019-06-06T14:02:53.336" v="0" actId="20577"/>
          <ac:spMkLst>
            <pc:docMk/>
            <pc:sldMk cId="424387413" sldId="258"/>
            <ac:spMk id="5" creationId="{AB266333-4B91-4824-B5EC-3BD3B38E3007}"/>
          </ac:spMkLst>
        </pc:spChg>
        <pc:spChg chg="del">
          <ac:chgData name="Juan David Botero Alvarez" userId="S::juan.botero@student.ie.edu::429d0b3d-dfc4-48a0-a257-e29fb1b1d5f0" providerId="AD" clId="Web-{DF5DD67F-AF37-4DBE-741A-A18A1C0DF89F}" dt="2019-06-06T14:03:18.274" v="3"/>
          <ac:spMkLst>
            <pc:docMk/>
            <pc:sldMk cId="424387413" sldId="258"/>
            <ac:spMk id="20" creationId="{F2BFF0F0-A882-D14D-B633-6ED2EF0DF805}"/>
          </ac:spMkLst>
        </pc:spChg>
        <pc:spChg chg="mod">
          <ac:chgData name="Juan David Botero Alvarez" userId="S::juan.botero@student.ie.edu::429d0b3d-dfc4-48a0-a257-e29fb1b1d5f0" providerId="AD" clId="Web-{DF5DD67F-AF37-4DBE-741A-A18A1C0DF89F}" dt="2019-06-06T14:33:08.356" v="26" actId="1076"/>
          <ac:spMkLst>
            <pc:docMk/>
            <pc:sldMk cId="424387413" sldId="258"/>
            <ac:spMk id="101" creationId="{FD3A70CE-A371-4962-98D2-7496FC89DA7B}"/>
          </ac:spMkLst>
        </pc:spChg>
        <pc:cxnChg chg="mod">
          <ac:chgData name="Juan David Botero Alvarez" userId="S::juan.botero@student.ie.edu::429d0b3d-dfc4-48a0-a257-e29fb1b1d5f0" providerId="AD" clId="Web-{DF5DD67F-AF37-4DBE-741A-A18A1C0DF89F}" dt="2019-06-06T14:03:32.977" v="5" actId="14100"/>
          <ac:cxnSpMkLst>
            <pc:docMk/>
            <pc:sldMk cId="424387413" sldId="258"/>
            <ac:cxnSpMk id="9" creationId="{E4A08416-2C8E-9249-98A9-9948F676263D}"/>
          </ac:cxnSpMkLst>
        </pc:cxnChg>
      </pc:sldChg>
      <pc:sldChg chg="modSp">
        <pc:chgData name="Juan David Botero Alvarez" userId="S::juan.botero@student.ie.edu::429d0b3d-dfc4-48a0-a257-e29fb1b1d5f0" providerId="AD" clId="Web-{DF5DD67F-AF37-4DBE-741A-A18A1C0DF89F}" dt="2019-06-06T14:37:17.308" v="31" actId="20577"/>
        <pc:sldMkLst>
          <pc:docMk/>
          <pc:sldMk cId="1110250214" sldId="265"/>
        </pc:sldMkLst>
        <pc:spChg chg="mod">
          <ac:chgData name="Juan David Botero Alvarez" userId="S::juan.botero@student.ie.edu::429d0b3d-dfc4-48a0-a257-e29fb1b1d5f0" providerId="AD" clId="Web-{DF5DD67F-AF37-4DBE-741A-A18A1C0DF89F}" dt="2019-06-06T14:37:17.308" v="31" actId="20577"/>
          <ac:spMkLst>
            <pc:docMk/>
            <pc:sldMk cId="1110250214" sldId="265"/>
            <ac:spMk id="31" creationId="{3C7954C9-3EB2-D440-86B6-9183B4AA34ED}"/>
          </ac:spMkLst>
        </pc:spChg>
      </pc:sldChg>
      <pc:sldChg chg="modSp">
        <pc:chgData name="Juan David Botero Alvarez" userId="S::juan.botero@student.ie.edu::429d0b3d-dfc4-48a0-a257-e29fb1b1d5f0" providerId="AD" clId="Web-{DF5DD67F-AF37-4DBE-741A-A18A1C0DF89F}" dt="2019-06-06T14:32:10.731" v="24" actId="14100"/>
        <pc:sldMkLst>
          <pc:docMk/>
          <pc:sldMk cId="752216926" sldId="266"/>
        </pc:sldMkLst>
        <pc:spChg chg="mod">
          <ac:chgData name="Juan David Botero Alvarez" userId="S::juan.botero@student.ie.edu::429d0b3d-dfc4-48a0-a257-e29fb1b1d5f0" providerId="AD" clId="Web-{DF5DD67F-AF37-4DBE-741A-A18A1C0DF89F}" dt="2019-06-06T14:18:22.502" v="10" actId="1076"/>
          <ac:spMkLst>
            <pc:docMk/>
            <pc:sldMk cId="752216926" sldId="266"/>
            <ac:spMk id="6" creationId="{22AC7FD3-969C-A24A-82D4-9830D7079FA2}"/>
          </ac:spMkLst>
        </pc:spChg>
        <pc:picChg chg="mod">
          <ac:chgData name="Juan David Botero Alvarez" userId="S::juan.botero@student.ie.edu::429d0b3d-dfc4-48a0-a257-e29fb1b1d5f0" providerId="AD" clId="Web-{DF5DD67F-AF37-4DBE-741A-A18A1C0DF89F}" dt="2019-06-06T14:31:36.966" v="21" actId="1076"/>
          <ac:picMkLst>
            <pc:docMk/>
            <pc:sldMk cId="752216926" sldId="266"/>
            <ac:picMk id="5" creationId="{6FAF4704-9CEE-480E-8C2C-16465819F33E}"/>
          </ac:picMkLst>
        </pc:picChg>
        <pc:cxnChg chg="mod">
          <ac:chgData name="Juan David Botero Alvarez" userId="S::juan.botero@student.ie.edu::429d0b3d-dfc4-48a0-a257-e29fb1b1d5f0" providerId="AD" clId="Web-{DF5DD67F-AF37-4DBE-741A-A18A1C0DF89F}" dt="2019-06-06T14:32:10.731" v="24" actId="14100"/>
          <ac:cxnSpMkLst>
            <pc:docMk/>
            <pc:sldMk cId="752216926" sldId="266"/>
            <ac:cxnSpMk id="9" creationId="{E4A08416-2C8E-9249-98A9-9948F676263D}"/>
          </ac:cxnSpMkLst>
        </pc:cxnChg>
      </pc:sldChg>
      <pc:sldChg chg="modSp">
        <pc:chgData name="Juan David Botero Alvarez" userId="S::juan.botero@student.ie.edu::429d0b3d-dfc4-48a0-a257-e29fb1b1d5f0" providerId="AD" clId="Web-{DF5DD67F-AF37-4DBE-741A-A18A1C0DF89F}" dt="2019-06-06T14:20:29.752" v="13" actId="1076"/>
        <pc:sldMkLst>
          <pc:docMk/>
          <pc:sldMk cId="3140807147" sldId="274"/>
        </pc:sldMkLst>
        <pc:picChg chg="mod">
          <ac:chgData name="Juan David Botero Alvarez" userId="S::juan.botero@student.ie.edu::429d0b3d-dfc4-48a0-a257-e29fb1b1d5f0" providerId="AD" clId="Web-{DF5DD67F-AF37-4DBE-741A-A18A1C0DF89F}" dt="2019-06-06T14:20:29.752" v="13" actId="1076"/>
          <ac:picMkLst>
            <pc:docMk/>
            <pc:sldMk cId="3140807147" sldId="274"/>
            <ac:picMk id="15" creationId="{731A444C-3030-4548-9D74-5C2C39E0DBD1}"/>
          </ac:picMkLst>
        </pc:picChg>
      </pc:sldChg>
      <pc:sldChg chg="modSp">
        <pc:chgData name="Juan David Botero Alvarez" userId="S::juan.botero@student.ie.edu::429d0b3d-dfc4-48a0-a257-e29fb1b1d5f0" providerId="AD" clId="Web-{DF5DD67F-AF37-4DBE-741A-A18A1C0DF89F}" dt="2019-06-06T14:21:14.173" v="16" actId="20577"/>
        <pc:sldMkLst>
          <pc:docMk/>
          <pc:sldMk cId="3860776498" sldId="280"/>
        </pc:sldMkLst>
        <pc:spChg chg="mod">
          <ac:chgData name="Juan David Botero Alvarez" userId="S::juan.botero@student.ie.edu::429d0b3d-dfc4-48a0-a257-e29fb1b1d5f0" providerId="AD" clId="Web-{DF5DD67F-AF37-4DBE-741A-A18A1C0DF89F}" dt="2019-06-06T14:21:14.173" v="16" actId="20577"/>
          <ac:spMkLst>
            <pc:docMk/>
            <pc:sldMk cId="3860776498" sldId="280"/>
            <ac:spMk id="11" creationId="{2D169F72-46E2-4D12-83DC-4CED653ECCE0}"/>
          </ac:spMkLst>
        </pc:spChg>
      </pc:sldChg>
      <pc:sldChg chg="modSp">
        <pc:chgData name="Juan David Botero Alvarez" userId="S::juan.botero@student.ie.edu::429d0b3d-dfc4-48a0-a257-e29fb1b1d5f0" providerId="AD" clId="Web-{DF5DD67F-AF37-4DBE-741A-A18A1C0DF89F}" dt="2019-06-06T14:30:18.576" v="20" actId="14100"/>
        <pc:sldMkLst>
          <pc:docMk/>
          <pc:sldMk cId="1089256195" sldId="281"/>
        </pc:sldMkLst>
        <pc:spChg chg="mod">
          <ac:chgData name="Juan David Botero Alvarez" userId="S::juan.botero@student.ie.edu::429d0b3d-dfc4-48a0-a257-e29fb1b1d5f0" providerId="AD" clId="Web-{DF5DD67F-AF37-4DBE-741A-A18A1C0DF89F}" dt="2019-06-06T14:30:18.576" v="20" actId="14100"/>
          <ac:spMkLst>
            <pc:docMk/>
            <pc:sldMk cId="1089256195" sldId="281"/>
            <ac:spMk id="72" creationId="{08991A41-8E5F-405A-95F0-D7937CD884DC}"/>
          </ac:spMkLst>
        </pc:spChg>
      </pc:sldChg>
    </pc:docChg>
  </pc:docChgLst>
  <pc:docChgLst>
    <pc:chgData name="Utkarsh Khemka" userId="b9e598a3-02e8-457b-a7c2-07f5c86e5cf7" providerId="ADAL" clId="{F999110F-B5FB-8B44-A982-92DC8BAF7F01}"/>
    <pc:docChg chg="undo addSld modSld sldOrd">
      <pc:chgData name="Utkarsh Khemka" userId="b9e598a3-02e8-457b-a7c2-07f5c86e5cf7" providerId="ADAL" clId="{F999110F-B5FB-8B44-A982-92DC8BAF7F01}" dt="2019-06-05T15:05:58.267" v="10" actId="14100"/>
      <pc:docMkLst>
        <pc:docMk/>
      </pc:docMkLst>
      <pc:sldChg chg="addSp modSp add ord">
        <pc:chgData name="Utkarsh Khemka" userId="b9e598a3-02e8-457b-a7c2-07f5c86e5cf7" providerId="ADAL" clId="{F999110F-B5FB-8B44-A982-92DC8BAF7F01}" dt="2019-06-05T15:05:58.267" v="10" actId="14100"/>
        <pc:sldMkLst>
          <pc:docMk/>
          <pc:sldMk cId="1556233465" sldId="260"/>
        </pc:sldMkLst>
        <pc:picChg chg="add mod">
          <ac:chgData name="Utkarsh Khemka" userId="b9e598a3-02e8-457b-a7c2-07f5c86e5cf7" providerId="ADAL" clId="{F999110F-B5FB-8B44-A982-92DC8BAF7F01}" dt="2019-06-05T15:05:58.267" v="10" actId="14100"/>
          <ac:picMkLst>
            <pc:docMk/>
            <pc:sldMk cId="1556233465" sldId="260"/>
            <ac:picMk id="3" creationId="{CB2711AD-94EB-7F4D-BD62-56FEF7642A70}"/>
          </ac:picMkLst>
        </pc:picChg>
      </pc:sldChg>
    </pc:docChg>
  </pc:docChgLst>
  <pc:docChgLst>
    <pc:chgData name="Ekaterina Chunosova" userId="S::kate.chunosova@student.ie.edu::5c6ac274-c4f1-480b-9055-176083e1ba83" providerId="AD" clId="Web-{FC6233FA-D49C-A306-1820-ACB7242FEE13}"/>
    <pc:docChg chg="modSld">
      <pc:chgData name="Ekaterina Chunosova" userId="S::kate.chunosova@student.ie.edu::5c6ac274-c4f1-480b-9055-176083e1ba83" providerId="AD" clId="Web-{FC6233FA-D49C-A306-1820-ACB7242FEE13}" dt="2019-06-04T14:26:32.935" v="262" actId="20577"/>
      <pc:docMkLst>
        <pc:docMk/>
      </pc:docMkLst>
      <pc:sldChg chg="modSp">
        <pc:chgData name="Ekaterina Chunosova" userId="S::kate.chunosova@student.ie.edu::5c6ac274-c4f1-480b-9055-176083e1ba83" providerId="AD" clId="Web-{FC6233FA-D49C-A306-1820-ACB7242FEE13}" dt="2019-06-04T14:26:22.903" v="254" actId="20577"/>
        <pc:sldMkLst>
          <pc:docMk/>
          <pc:sldMk cId="424387413" sldId="258"/>
        </pc:sldMkLst>
        <pc:spChg chg="mod">
          <ac:chgData name="Ekaterina Chunosova" userId="S::kate.chunosova@student.ie.edu::5c6ac274-c4f1-480b-9055-176083e1ba83" providerId="AD" clId="Web-{FC6233FA-D49C-A306-1820-ACB7242FEE13}" dt="2019-06-04T14:26:22.903" v="254" actId="20577"/>
          <ac:spMkLst>
            <pc:docMk/>
            <pc:sldMk cId="424387413" sldId="258"/>
            <ac:spMk id="26" creationId="{36B21A66-AA48-AF4E-95B5-02A8F41CD961}"/>
          </ac:spMkLst>
        </pc:spChg>
      </pc:sldChg>
    </pc:docChg>
  </pc:docChgLst>
  <pc:docChgLst>
    <pc:chgData name="Ekaterina Chunosova" userId="S::kate.chunosova@student.ie.edu::5c6ac274-c4f1-480b-9055-176083e1ba83" providerId="AD" clId="Web-{6AE93497-C0EF-5712-0780-17B1EB84FA37}"/>
    <pc:docChg chg="modSld">
      <pc:chgData name="Ekaterina Chunosova" userId="S::kate.chunosova@student.ie.edu::5c6ac274-c4f1-480b-9055-176083e1ba83" providerId="AD" clId="Web-{6AE93497-C0EF-5712-0780-17B1EB84FA37}" dt="2019-06-06T11:43:02.834" v="0" actId="1076"/>
      <pc:docMkLst>
        <pc:docMk/>
      </pc:docMkLst>
      <pc:sldChg chg="modSp">
        <pc:chgData name="Ekaterina Chunosova" userId="S::kate.chunosova@student.ie.edu::5c6ac274-c4f1-480b-9055-176083e1ba83" providerId="AD" clId="Web-{6AE93497-C0EF-5712-0780-17B1EB84FA37}" dt="2019-06-06T11:43:02.834" v="0" actId="1076"/>
        <pc:sldMkLst>
          <pc:docMk/>
          <pc:sldMk cId="2710440420" sldId="282"/>
        </pc:sldMkLst>
        <pc:spChg chg="mod">
          <ac:chgData name="Ekaterina Chunosova" userId="S::kate.chunosova@student.ie.edu::5c6ac274-c4f1-480b-9055-176083e1ba83" providerId="AD" clId="Web-{6AE93497-C0EF-5712-0780-17B1EB84FA37}" dt="2019-06-06T11:43:02.834" v="0" actId="1076"/>
          <ac:spMkLst>
            <pc:docMk/>
            <pc:sldMk cId="2710440420" sldId="282"/>
            <ac:spMk id="87" creationId="{20B7651C-FFD2-4D58-AA0D-DEC192A60ACF}"/>
          </ac:spMkLst>
        </pc:spChg>
      </pc:sldChg>
    </pc:docChg>
  </pc:docChgLst>
  <pc:docChgLst>
    <pc:chgData name="Moutaz Al-Huneidi" userId="ef06bd39-2c7b-4910-9028-4578ed52836d" providerId="ADAL" clId="{F0642C68-AF30-4CBF-BE63-B9B915665008}"/>
    <pc:docChg chg="undo redo custSel addSld delSld modSld sldOrd delMainMaster modMainMaster">
      <pc:chgData name="Moutaz Al-Huneidi" userId="ef06bd39-2c7b-4910-9028-4578ed52836d" providerId="ADAL" clId="{F0642C68-AF30-4CBF-BE63-B9B915665008}" dt="2019-06-06T20:45:51.215" v="3037" actId="1076"/>
      <pc:docMkLst>
        <pc:docMk/>
      </pc:docMkLst>
      <pc:sldChg chg="addSp delSp modSp setBg modAnim">
        <pc:chgData name="Moutaz Al-Huneidi" userId="ef06bd39-2c7b-4910-9028-4578ed52836d" providerId="ADAL" clId="{F0642C68-AF30-4CBF-BE63-B9B915665008}" dt="2019-06-06T17:52:18.314" v="2908"/>
        <pc:sldMkLst>
          <pc:docMk/>
          <pc:sldMk cId="109857222" sldId="256"/>
        </pc:sldMkLst>
        <pc:spChg chg="mod">
          <ac:chgData name="Moutaz Al-Huneidi" userId="ef06bd39-2c7b-4910-9028-4578ed52836d" providerId="ADAL" clId="{F0642C68-AF30-4CBF-BE63-B9B915665008}" dt="2019-06-05T13:41:35.609" v="267" actId="1076"/>
          <ac:spMkLst>
            <pc:docMk/>
            <pc:sldMk cId="109857222" sldId="256"/>
            <ac:spMk id="2" creationId="{00000000-0000-0000-0000-000000000000}"/>
          </ac:spMkLst>
        </pc:spChg>
        <pc:spChg chg="mod">
          <ac:chgData name="Moutaz Al-Huneidi" userId="ef06bd39-2c7b-4910-9028-4578ed52836d" providerId="ADAL" clId="{F0642C68-AF30-4CBF-BE63-B9B915665008}" dt="2019-06-05T14:07:38.433" v="557" actId="207"/>
          <ac:spMkLst>
            <pc:docMk/>
            <pc:sldMk cId="109857222" sldId="256"/>
            <ac:spMk id="3" creationId="{00000000-0000-0000-0000-000000000000}"/>
          </ac:spMkLst>
        </pc:spChg>
        <pc:spChg chg="add mod ord">
          <ac:chgData name="Moutaz Al-Huneidi" userId="ef06bd39-2c7b-4910-9028-4578ed52836d" providerId="ADAL" clId="{F0642C68-AF30-4CBF-BE63-B9B915665008}" dt="2019-06-05T13:43:38.773" v="283" actId="1076"/>
          <ac:spMkLst>
            <pc:docMk/>
            <pc:sldMk cId="109857222" sldId="256"/>
            <ac:spMk id="5" creationId="{213B2B2A-AE10-41B5-B05B-839F4727349C}"/>
          </ac:spMkLst>
        </pc:spChg>
        <pc:spChg chg="add mod">
          <ac:chgData name="Moutaz Al-Huneidi" userId="ef06bd39-2c7b-4910-9028-4578ed52836d" providerId="ADAL" clId="{F0642C68-AF30-4CBF-BE63-B9B915665008}" dt="2019-06-05T13:45:56.847" v="344" actId="1076"/>
          <ac:spMkLst>
            <pc:docMk/>
            <pc:sldMk cId="109857222" sldId="256"/>
            <ac:spMk id="6" creationId="{CED064CF-BE3A-408F-AEEB-60A545C6629C}"/>
          </ac:spMkLst>
        </pc:spChg>
        <pc:spChg chg="mod">
          <ac:chgData name="Moutaz Al-Huneidi" userId="ef06bd39-2c7b-4910-9028-4578ed52836d" providerId="ADAL" clId="{F0642C68-AF30-4CBF-BE63-B9B915665008}" dt="2019-06-05T13:39:42.226" v="222" actId="1076"/>
          <ac:spMkLst>
            <pc:docMk/>
            <pc:sldMk cId="109857222" sldId="256"/>
            <ac:spMk id="12" creationId="{7B03A696-6E33-784C-94D8-0D411D237852}"/>
          </ac:spMkLst>
        </pc:spChg>
        <pc:spChg chg="add mod">
          <ac:chgData name="Moutaz Al-Huneidi" userId="ef06bd39-2c7b-4910-9028-4578ed52836d" providerId="ADAL" clId="{F0642C68-AF30-4CBF-BE63-B9B915665008}" dt="2019-06-05T14:06:21.340" v="546" actId="14100"/>
          <ac:spMkLst>
            <pc:docMk/>
            <pc:sldMk cId="109857222" sldId="256"/>
            <ac:spMk id="26" creationId="{750BC4C6-5716-4DAD-9697-EACE62A89693}"/>
          </ac:spMkLst>
        </pc:spChg>
        <pc:grpChg chg="mod">
          <ac:chgData name="Moutaz Al-Huneidi" userId="ef06bd39-2c7b-4910-9028-4578ed52836d" providerId="ADAL" clId="{F0642C68-AF30-4CBF-BE63-B9B915665008}" dt="2019-06-05T13:41:51.592" v="269" actId="1076"/>
          <ac:grpSpMkLst>
            <pc:docMk/>
            <pc:sldMk cId="109857222" sldId="256"/>
            <ac:grpSpMk id="20" creationId="{95AA21A7-515D-004A-AB20-7EDECB36B323}"/>
          </ac:grpSpMkLst>
        </pc:grpChg>
        <pc:picChg chg="mod">
          <ac:chgData name="Moutaz Al-Huneidi" userId="ef06bd39-2c7b-4910-9028-4578ed52836d" providerId="ADAL" clId="{F0642C68-AF30-4CBF-BE63-B9B915665008}" dt="2019-06-05T13:39:47.480" v="224" actId="1076"/>
          <ac:picMkLst>
            <pc:docMk/>
            <pc:sldMk cId="109857222" sldId="256"/>
            <ac:picMk id="15" creationId="{4B9313D2-625C-0841-8AE3-F9FE9F6EAB49}"/>
          </ac:picMkLst>
        </pc:picChg>
        <pc:picChg chg="mod">
          <ac:chgData name="Moutaz Al-Huneidi" userId="ef06bd39-2c7b-4910-9028-4578ed52836d" providerId="ADAL" clId="{F0642C68-AF30-4CBF-BE63-B9B915665008}" dt="2019-06-05T13:39:45.222" v="223" actId="1076"/>
          <ac:picMkLst>
            <pc:docMk/>
            <pc:sldMk cId="109857222" sldId="256"/>
            <ac:picMk id="17" creationId="{4E8BA9A6-2DAF-B748-AFA7-BFAE0BD26D98}"/>
          </ac:picMkLst>
        </pc:picChg>
        <pc:picChg chg="del">
          <ac:chgData name="Moutaz Al-Huneidi" userId="ef06bd39-2c7b-4910-9028-4578ed52836d" providerId="ADAL" clId="{F0642C68-AF30-4CBF-BE63-B9B915665008}" dt="2019-06-05T13:36:33.692" v="168" actId="478"/>
          <ac:picMkLst>
            <pc:docMk/>
            <pc:sldMk cId="109857222" sldId="256"/>
            <ac:picMk id="22" creationId="{3D238BA6-022D-F44F-979B-7B555C03E7B4}"/>
          </ac:picMkLst>
        </pc:picChg>
        <pc:picChg chg="add mod ord modCrop">
          <ac:chgData name="Moutaz Al-Huneidi" userId="ef06bd39-2c7b-4910-9028-4578ed52836d" providerId="ADAL" clId="{F0642C68-AF30-4CBF-BE63-B9B915665008}" dt="2019-06-05T13:40:09.160" v="229" actId="14100"/>
          <ac:picMkLst>
            <pc:docMk/>
            <pc:sldMk cId="109857222" sldId="256"/>
            <ac:picMk id="1026" creationId="{F99BB74D-7531-44E2-B579-EDE33124342C}"/>
          </ac:picMkLst>
        </pc:picChg>
        <pc:cxnChg chg="add mod">
          <ac:chgData name="Moutaz Al-Huneidi" userId="ef06bd39-2c7b-4910-9028-4578ed52836d" providerId="ADAL" clId="{F0642C68-AF30-4CBF-BE63-B9B915665008}" dt="2019-06-05T13:46:24.299" v="362" actId="14100"/>
          <ac:cxnSpMkLst>
            <pc:docMk/>
            <pc:sldMk cId="109857222" sldId="256"/>
            <ac:cxnSpMk id="16" creationId="{00996862-1E2C-4AA9-B9A0-6026853150D1}"/>
          </ac:cxnSpMkLst>
        </pc:cxnChg>
        <pc:cxnChg chg="add mod">
          <ac:chgData name="Moutaz Al-Huneidi" userId="ef06bd39-2c7b-4910-9028-4578ed52836d" providerId="ADAL" clId="{F0642C68-AF30-4CBF-BE63-B9B915665008}" dt="2019-06-05T13:46:54.303" v="368" actId="14100"/>
          <ac:cxnSpMkLst>
            <pc:docMk/>
            <pc:sldMk cId="109857222" sldId="256"/>
            <ac:cxnSpMk id="23" creationId="{D1E0D298-46AF-4544-B250-D8C84CFAEB33}"/>
          </ac:cxnSpMkLst>
        </pc:cxnChg>
      </pc:sldChg>
      <pc:sldChg chg="addSp delSp modSp ord modTransition modAnim">
        <pc:chgData name="Moutaz Al-Huneidi" userId="ef06bd39-2c7b-4910-9028-4578ed52836d" providerId="ADAL" clId="{F0642C68-AF30-4CBF-BE63-B9B915665008}" dt="2019-06-06T17:56:00.725" v="2919"/>
        <pc:sldMkLst>
          <pc:docMk/>
          <pc:sldMk cId="424387413" sldId="258"/>
        </pc:sldMkLst>
        <pc:spChg chg="del mod topLvl">
          <ac:chgData name="Moutaz Al-Huneidi" userId="ef06bd39-2c7b-4910-9028-4578ed52836d" providerId="ADAL" clId="{F0642C68-AF30-4CBF-BE63-B9B915665008}" dt="2019-06-05T14:38:46.606" v="705" actId="478"/>
          <ac:spMkLst>
            <pc:docMk/>
            <pc:sldMk cId="424387413" sldId="258"/>
            <ac:spMk id="2" creationId="{FC0B5C04-1F5D-E948-831B-A9E3A6AE0290}"/>
          </ac:spMkLst>
        </pc:spChg>
        <pc:spChg chg="mod">
          <ac:chgData name="Moutaz Al-Huneidi" userId="ef06bd39-2c7b-4910-9028-4578ed52836d" providerId="ADAL" clId="{F0642C68-AF30-4CBF-BE63-B9B915665008}" dt="2019-06-05T21:50:37.839" v="984" actId="20577"/>
          <ac:spMkLst>
            <pc:docMk/>
            <pc:sldMk cId="424387413" sldId="258"/>
            <ac:spMk id="5" creationId="{AB266333-4B91-4824-B5EC-3BD3B38E3007}"/>
          </ac:spMkLst>
        </pc:spChg>
        <pc:spChg chg="mod">
          <ac:chgData name="Moutaz Al-Huneidi" userId="ef06bd39-2c7b-4910-9028-4578ed52836d" providerId="ADAL" clId="{F0642C68-AF30-4CBF-BE63-B9B915665008}" dt="2019-06-05T14:25:15.717" v="607" actId="1076"/>
          <ac:spMkLst>
            <pc:docMk/>
            <pc:sldMk cId="424387413" sldId="258"/>
            <ac:spMk id="10" creationId="{D6060FCE-115C-504E-9C09-A645C9C8123E}"/>
          </ac:spMkLst>
        </pc:spChg>
        <pc:spChg chg="del mod">
          <ac:chgData name="Moutaz Al-Huneidi" userId="ef06bd39-2c7b-4910-9028-4578ed52836d" providerId="ADAL" clId="{F0642C68-AF30-4CBF-BE63-B9B915665008}" dt="2019-06-05T14:38:29.427" v="702" actId="478"/>
          <ac:spMkLst>
            <pc:docMk/>
            <pc:sldMk cId="424387413" sldId="258"/>
            <ac:spMk id="25" creationId="{8F14BC9A-FF71-4C4D-B79E-392A7834E4DD}"/>
          </ac:spMkLst>
        </pc:spChg>
        <pc:spChg chg="mod">
          <ac:chgData name="Moutaz Al-Huneidi" userId="ef06bd39-2c7b-4910-9028-4578ed52836d" providerId="ADAL" clId="{F0642C68-AF30-4CBF-BE63-B9B915665008}" dt="2019-06-06T14:16:22.633" v="1303" actId="2711"/>
          <ac:spMkLst>
            <pc:docMk/>
            <pc:sldMk cId="424387413" sldId="258"/>
            <ac:spMk id="26" creationId="{36B21A66-AA48-AF4E-95B5-02A8F41CD961}"/>
          </ac:spMkLst>
        </pc:spChg>
        <pc:spChg chg="add del">
          <ac:chgData name="Moutaz Al-Huneidi" userId="ef06bd39-2c7b-4910-9028-4578ed52836d" providerId="ADAL" clId="{F0642C68-AF30-4CBF-BE63-B9B915665008}" dt="2019-06-05T15:01:50.464" v="721"/>
          <ac:spMkLst>
            <pc:docMk/>
            <pc:sldMk cId="424387413" sldId="258"/>
            <ac:spMk id="29" creationId="{36B66F20-821C-49FE-B6EA-A4B1E3AFF083}"/>
          </ac:spMkLst>
        </pc:spChg>
        <pc:spChg chg="add del">
          <ac:chgData name="Moutaz Al-Huneidi" userId="ef06bd39-2c7b-4910-9028-4578ed52836d" providerId="ADAL" clId="{F0642C68-AF30-4CBF-BE63-B9B915665008}" dt="2019-06-05T15:01:50.464" v="721"/>
          <ac:spMkLst>
            <pc:docMk/>
            <pc:sldMk cId="424387413" sldId="258"/>
            <ac:spMk id="31" creationId="{3C13CCC2-FA32-40EA-BE55-259FB59456D6}"/>
          </ac:spMkLst>
        </pc:spChg>
        <pc:spChg chg="add del">
          <ac:chgData name="Moutaz Al-Huneidi" userId="ef06bd39-2c7b-4910-9028-4578ed52836d" providerId="ADAL" clId="{F0642C68-AF30-4CBF-BE63-B9B915665008}" dt="2019-06-05T15:01:50.464" v="721"/>
          <ac:spMkLst>
            <pc:docMk/>
            <pc:sldMk cId="424387413" sldId="258"/>
            <ac:spMk id="32" creationId="{D0CACD7B-83E0-4575-9363-6B42DED7DB3C}"/>
          </ac:spMkLst>
        </pc:spChg>
        <pc:spChg chg="add del">
          <ac:chgData name="Moutaz Al-Huneidi" userId="ef06bd39-2c7b-4910-9028-4578ed52836d" providerId="ADAL" clId="{F0642C68-AF30-4CBF-BE63-B9B915665008}" dt="2019-06-05T15:01:50.464" v="721"/>
          <ac:spMkLst>
            <pc:docMk/>
            <pc:sldMk cId="424387413" sldId="258"/>
            <ac:spMk id="33" creationId="{2ECA440E-1089-4222-85A0-21C07A8EC8B8}"/>
          </ac:spMkLst>
        </pc:spChg>
        <pc:spChg chg="add del">
          <ac:chgData name="Moutaz Al-Huneidi" userId="ef06bd39-2c7b-4910-9028-4578ed52836d" providerId="ADAL" clId="{F0642C68-AF30-4CBF-BE63-B9B915665008}" dt="2019-06-05T15:01:50.464" v="721"/>
          <ac:spMkLst>
            <pc:docMk/>
            <pc:sldMk cId="424387413" sldId="258"/>
            <ac:spMk id="34" creationId="{E6ACD2FC-AC25-439F-ACD9-18041D5A99DC}"/>
          </ac:spMkLst>
        </pc:spChg>
        <pc:spChg chg="add del">
          <ac:chgData name="Moutaz Al-Huneidi" userId="ef06bd39-2c7b-4910-9028-4578ed52836d" providerId="ADAL" clId="{F0642C68-AF30-4CBF-BE63-B9B915665008}" dt="2019-06-05T15:01:50.464" v="721"/>
          <ac:spMkLst>
            <pc:docMk/>
            <pc:sldMk cId="424387413" sldId="258"/>
            <ac:spMk id="35" creationId="{7ACEF3A7-61C0-4576-AB70-762E43F61EC3}"/>
          </ac:spMkLst>
        </pc:spChg>
        <pc:spChg chg="add del">
          <ac:chgData name="Moutaz Al-Huneidi" userId="ef06bd39-2c7b-4910-9028-4578ed52836d" providerId="ADAL" clId="{F0642C68-AF30-4CBF-BE63-B9B915665008}" dt="2019-06-05T15:01:50.464" v="721"/>
          <ac:spMkLst>
            <pc:docMk/>
            <pc:sldMk cId="424387413" sldId="258"/>
            <ac:spMk id="36" creationId="{63169FE6-0F9F-4961-BEC5-4085E7A02CBC}"/>
          </ac:spMkLst>
        </pc:spChg>
        <pc:spChg chg="add del">
          <ac:chgData name="Moutaz Al-Huneidi" userId="ef06bd39-2c7b-4910-9028-4578ed52836d" providerId="ADAL" clId="{F0642C68-AF30-4CBF-BE63-B9B915665008}" dt="2019-06-05T15:01:50.464" v="721"/>
          <ac:spMkLst>
            <pc:docMk/>
            <pc:sldMk cId="424387413" sldId="258"/>
            <ac:spMk id="37" creationId="{ECA13494-54F3-4DDB-833F-C331C945CC87}"/>
          </ac:spMkLst>
        </pc:spChg>
        <pc:spChg chg="add del">
          <ac:chgData name="Moutaz Al-Huneidi" userId="ef06bd39-2c7b-4910-9028-4578ed52836d" providerId="ADAL" clId="{F0642C68-AF30-4CBF-BE63-B9B915665008}" dt="2019-06-05T15:01:50.464" v="721"/>
          <ac:spMkLst>
            <pc:docMk/>
            <pc:sldMk cId="424387413" sldId="258"/>
            <ac:spMk id="38" creationId="{2518630B-D774-414C-9442-35D25EA3ADB6}"/>
          </ac:spMkLst>
        </pc:spChg>
        <pc:spChg chg="add del">
          <ac:chgData name="Moutaz Al-Huneidi" userId="ef06bd39-2c7b-4910-9028-4578ed52836d" providerId="ADAL" clId="{F0642C68-AF30-4CBF-BE63-B9B915665008}" dt="2019-06-05T15:01:50.464" v="721"/>
          <ac:spMkLst>
            <pc:docMk/>
            <pc:sldMk cId="424387413" sldId="258"/>
            <ac:spMk id="39" creationId="{305AE0DD-DC51-4A44-A28D-F3A02EA2293A}"/>
          </ac:spMkLst>
        </pc:spChg>
        <pc:spChg chg="add del">
          <ac:chgData name="Moutaz Al-Huneidi" userId="ef06bd39-2c7b-4910-9028-4578ed52836d" providerId="ADAL" clId="{F0642C68-AF30-4CBF-BE63-B9B915665008}" dt="2019-06-05T15:01:50.464" v="721"/>
          <ac:spMkLst>
            <pc:docMk/>
            <pc:sldMk cId="424387413" sldId="258"/>
            <ac:spMk id="40" creationId="{B10E79F1-9764-44AB-B48F-09F78FAFB5B8}"/>
          </ac:spMkLst>
        </pc:spChg>
        <pc:spChg chg="add del">
          <ac:chgData name="Moutaz Al-Huneidi" userId="ef06bd39-2c7b-4910-9028-4578ed52836d" providerId="ADAL" clId="{F0642C68-AF30-4CBF-BE63-B9B915665008}" dt="2019-06-05T15:01:50.464" v="721"/>
          <ac:spMkLst>
            <pc:docMk/>
            <pc:sldMk cId="424387413" sldId="258"/>
            <ac:spMk id="41" creationId="{C5E2FA4B-3271-4137-9C5A-72010465B991}"/>
          </ac:spMkLst>
        </pc:spChg>
        <pc:spChg chg="add del">
          <ac:chgData name="Moutaz Al-Huneidi" userId="ef06bd39-2c7b-4910-9028-4578ed52836d" providerId="ADAL" clId="{F0642C68-AF30-4CBF-BE63-B9B915665008}" dt="2019-06-05T15:01:50.464" v="721"/>
          <ac:spMkLst>
            <pc:docMk/>
            <pc:sldMk cId="424387413" sldId="258"/>
            <ac:spMk id="42" creationId="{0489BCDC-115A-45EA-BE68-0C91A85B1B58}"/>
          </ac:spMkLst>
        </pc:spChg>
        <pc:spChg chg="add del">
          <ac:chgData name="Moutaz Al-Huneidi" userId="ef06bd39-2c7b-4910-9028-4578ed52836d" providerId="ADAL" clId="{F0642C68-AF30-4CBF-BE63-B9B915665008}" dt="2019-06-05T15:01:50.464" v="721"/>
          <ac:spMkLst>
            <pc:docMk/>
            <pc:sldMk cId="424387413" sldId="258"/>
            <ac:spMk id="43" creationId="{652A5647-5AFA-4F1C-B053-E65E37C70BED}"/>
          </ac:spMkLst>
        </pc:spChg>
        <pc:spChg chg="add del">
          <ac:chgData name="Moutaz Al-Huneidi" userId="ef06bd39-2c7b-4910-9028-4578ed52836d" providerId="ADAL" clId="{F0642C68-AF30-4CBF-BE63-B9B915665008}" dt="2019-06-05T15:01:50.464" v="721"/>
          <ac:spMkLst>
            <pc:docMk/>
            <pc:sldMk cId="424387413" sldId="258"/>
            <ac:spMk id="44" creationId="{DACAE57C-34A8-4DF0-85ED-6DDA06325838}"/>
          </ac:spMkLst>
        </pc:spChg>
        <pc:spChg chg="add del">
          <ac:chgData name="Moutaz Al-Huneidi" userId="ef06bd39-2c7b-4910-9028-4578ed52836d" providerId="ADAL" clId="{F0642C68-AF30-4CBF-BE63-B9B915665008}" dt="2019-06-05T15:01:50.464" v="721"/>
          <ac:spMkLst>
            <pc:docMk/>
            <pc:sldMk cId="424387413" sldId="258"/>
            <ac:spMk id="45" creationId="{8368FCD0-818A-4AEC-82E8-A0F0257F4C9C}"/>
          </ac:spMkLst>
        </pc:spChg>
        <pc:spChg chg="add del">
          <ac:chgData name="Moutaz Al-Huneidi" userId="ef06bd39-2c7b-4910-9028-4578ed52836d" providerId="ADAL" clId="{F0642C68-AF30-4CBF-BE63-B9B915665008}" dt="2019-06-05T15:01:50.464" v="721"/>
          <ac:spMkLst>
            <pc:docMk/>
            <pc:sldMk cId="424387413" sldId="258"/>
            <ac:spMk id="46" creationId="{2361A9E2-B654-4E2D-9FE3-E6683660D859}"/>
          </ac:spMkLst>
        </pc:spChg>
        <pc:spChg chg="add del">
          <ac:chgData name="Moutaz Al-Huneidi" userId="ef06bd39-2c7b-4910-9028-4578ed52836d" providerId="ADAL" clId="{F0642C68-AF30-4CBF-BE63-B9B915665008}" dt="2019-06-05T15:01:50.464" v="721"/>
          <ac:spMkLst>
            <pc:docMk/>
            <pc:sldMk cId="424387413" sldId="258"/>
            <ac:spMk id="47" creationId="{8AF525EF-92DC-4018-8C55-707CD8CBC2E9}"/>
          </ac:spMkLst>
        </pc:spChg>
        <pc:spChg chg="add del">
          <ac:chgData name="Moutaz Al-Huneidi" userId="ef06bd39-2c7b-4910-9028-4578ed52836d" providerId="ADAL" clId="{F0642C68-AF30-4CBF-BE63-B9B915665008}" dt="2019-06-05T15:01:50.464" v="721"/>
          <ac:spMkLst>
            <pc:docMk/>
            <pc:sldMk cId="424387413" sldId="258"/>
            <ac:spMk id="59" creationId="{24C88102-3C1B-4204-B46C-5DC7061D9C11}"/>
          </ac:spMkLst>
        </pc:spChg>
        <pc:spChg chg="add del">
          <ac:chgData name="Moutaz Al-Huneidi" userId="ef06bd39-2c7b-4910-9028-4578ed52836d" providerId="ADAL" clId="{F0642C68-AF30-4CBF-BE63-B9B915665008}" dt="2019-06-05T15:01:50.464" v="721"/>
          <ac:spMkLst>
            <pc:docMk/>
            <pc:sldMk cId="424387413" sldId="258"/>
            <ac:spMk id="60" creationId="{6E5B13D6-5161-4614-B428-B2B6917AB4BF}"/>
          </ac:spMkLst>
        </pc:spChg>
        <pc:spChg chg="add del">
          <ac:chgData name="Moutaz Al-Huneidi" userId="ef06bd39-2c7b-4910-9028-4578ed52836d" providerId="ADAL" clId="{F0642C68-AF30-4CBF-BE63-B9B915665008}" dt="2019-06-05T15:01:50.464" v="721"/>
          <ac:spMkLst>
            <pc:docMk/>
            <pc:sldMk cId="424387413" sldId="258"/>
            <ac:spMk id="61" creationId="{73E45010-5AEF-4DE0-9E4E-45672DE38A7F}"/>
          </ac:spMkLst>
        </pc:spChg>
        <pc:spChg chg="add del">
          <ac:chgData name="Moutaz Al-Huneidi" userId="ef06bd39-2c7b-4910-9028-4578ed52836d" providerId="ADAL" clId="{F0642C68-AF30-4CBF-BE63-B9B915665008}" dt="2019-06-05T15:01:50.464" v="721"/>
          <ac:spMkLst>
            <pc:docMk/>
            <pc:sldMk cId="424387413" sldId="258"/>
            <ac:spMk id="62" creationId="{69F0B53D-6109-4DB4-A3CD-1C89EFAD9365}"/>
          </ac:spMkLst>
        </pc:spChg>
        <pc:spChg chg="add del">
          <ac:chgData name="Moutaz Al-Huneidi" userId="ef06bd39-2c7b-4910-9028-4578ed52836d" providerId="ADAL" clId="{F0642C68-AF30-4CBF-BE63-B9B915665008}" dt="2019-06-05T15:01:50.464" v="721"/>
          <ac:spMkLst>
            <pc:docMk/>
            <pc:sldMk cId="424387413" sldId="258"/>
            <ac:spMk id="63" creationId="{81B8EC19-796B-459A-9A02-176BC1D38DDB}"/>
          </ac:spMkLst>
        </pc:spChg>
        <pc:spChg chg="add del">
          <ac:chgData name="Moutaz Al-Huneidi" userId="ef06bd39-2c7b-4910-9028-4578ed52836d" providerId="ADAL" clId="{F0642C68-AF30-4CBF-BE63-B9B915665008}" dt="2019-06-05T15:01:50.464" v="721"/>
          <ac:spMkLst>
            <pc:docMk/>
            <pc:sldMk cId="424387413" sldId="258"/>
            <ac:spMk id="64" creationId="{E3C49C7A-A39D-4F21-85A1-F5484107FC0F}"/>
          </ac:spMkLst>
        </pc:spChg>
        <pc:spChg chg="add del">
          <ac:chgData name="Moutaz Al-Huneidi" userId="ef06bd39-2c7b-4910-9028-4578ed52836d" providerId="ADAL" clId="{F0642C68-AF30-4CBF-BE63-B9B915665008}" dt="2019-06-05T15:01:50.464" v="721"/>
          <ac:spMkLst>
            <pc:docMk/>
            <pc:sldMk cId="424387413" sldId="258"/>
            <ac:spMk id="65" creationId="{B7EAEFC7-ACF3-43C7-B1BA-4DCA195FBE52}"/>
          </ac:spMkLst>
        </pc:spChg>
        <pc:spChg chg="add del">
          <ac:chgData name="Moutaz Al-Huneidi" userId="ef06bd39-2c7b-4910-9028-4578ed52836d" providerId="ADAL" clId="{F0642C68-AF30-4CBF-BE63-B9B915665008}" dt="2019-06-05T15:01:50.464" v="721"/>
          <ac:spMkLst>
            <pc:docMk/>
            <pc:sldMk cId="424387413" sldId="258"/>
            <ac:spMk id="66" creationId="{7F20048B-E34E-4EA3-A3E8-1FA22E42C111}"/>
          </ac:spMkLst>
        </pc:spChg>
        <pc:spChg chg="add del">
          <ac:chgData name="Moutaz Al-Huneidi" userId="ef06bd39-2c7b-4910-9028-4578ed52836d" providerId="ADAL" clId="{F0642C68-AF30-4CBF-BE63-B9B915665008}" dt="2019-06-05T15:01:50.464" v="721"/>
          <ac:spMkLst>
            <pc:docMk/>
            <pc:sldMk cId="424387413" sldId="258"/>
            <ac:spMk id="67" creationId="{4D19E95B-2504-4EEB-958A-439818188AAA}"/>
          </ac:spMkLst>
        </pc:spChg>
        <pc:spChg chg="add del">
          <ac:chgData name="Moutaz Al-Huneidi" userId="ef06bd39-2c7b-4910-9028-4578ed52836d" providerId="ADAL" clId="{F0642C68-AF30-4CBF-BE63-B9B915665008}" dt="2019-06-05T15:01:50.464" v="721"/>
          <ac:spMkLst>
            <pc:docMk/>
            <pc:sldMk cId="424387413" sldId="258"/>
            <ac:spMk id="68" creationId="{ABD11D5B-90E2-4DDF-99D4-FA00ABC9FBC4}"/>
          </ac:spMkLst>
        </pc:spChg>
        <pc:spChg chg="add del">
          <ac:chgData name="Moutaz Al-Huneidi" userId="ef06bd39-2c7b-4910-9028-4578ed52836d" providerId="ADAL" clId="{F0642C68-AF30-4CBF-BE63-B9B915665008}" dt="2019-06-05T15:01:50.464" v="721"/>
          <ac:spMkLst>
            <pc:docMk/>
            <pc:sldMk cId="424387413" sldId="258"/>
            <ac:spMk id="69" creationId="{B40FA5E0-65E3-461E-A17E-1B23A9FA5DAE}"/>
          </ac:spMkLst>
        </pc:spChg>
        <pc:spChg chg="add del">
          <ac:chgData name="Moutaz Al-Huneidi" userId="ef06bd39-2c7b-4910-9028-4578ed52836d" providerId="ADAL" clId="{F0642C68-AF30-4CBF-BE63-B9B915665008}" dt="2019-06-05T15:01:50.464" v="721"/>
          <ac:spMkLst>
            <pc:docMk/>
            <pc:sldMk cId="424387413" sldId="258"/>
            <ac:spMk id="70" creationId="{84C48F2A-1CCD-48EC-A290-AC9DBF5DA950}"/>
          </ac:spMkLst>
        </pc:spChg>
        <pc:spChg chg="add del">
          <ac:chgData name="Moutaz Al-Huneidi" userId="ef06bd39-2c7b-4910-9028-4578ed52836d" providerId="ADAL" clId="{F0642C68-AF30-4CBF-BE63-B9B915665008}" dt="2019-06-05T15:01:50.464" v="721"/>
          <ac:spMkLst>
            <pc:docMk/>
            <pc:sldMk cId="424387413" sldId="258"/>
            <ac:spMk id="71" creationId="{F44A8CA5-0F62-4E81-BC1F-F0921132043C}"/>
          </ac:spMkLst>
        </pc:spChg>
        <pc:spChg chg="add del">
          <ac:chgData name="Moutaz Al-Huneidi" userId="ef06bd39-2c7b-4910-9028-4578ed52836d" providerId="ADAL" clId="{F0642C68-AF30-4CBF-BE63-B9B915665008}" dt="2019-06-05T15:01:50.464" v="721"/>
          <ac:spMkLst>
            <pc:docMk/>
            <pc:sldMk cId="424387413" sldId="258"/>
            <ac:spMk id="72" creationId="{0EB35C0B-9D2F-47D2-829C-EA99B876F7CA}"/>
          </ac:spMkLst>
        </pc:spChg>
        <pc:spChg chg="add del">
          <ac:chgData name="Moutaz Al-Huneidi" userId="ef06bd39-2c7b-4910-9028-4578ed52836d" providerId="ADAL" clId="{F0642C68-AF30-4CBF-BE63-B9B915665008}" dt="2019-06-05T15:01:50.464" v="721"/>
          <ac:spMkLst>
            <pc:docMk/>
            <pc:sldMk cId="424387413" sldId="258"/>
            <ac:spMk id="73" creationId="{5E36BF98-15D8-437A-B4C7-BB4A08A88051}"/>
          </ac:spMkLst>
        </pc:spChg>
        <pc:spChg chg="add del">
          <ac:chgData name="Moutaz Al-Huneidi" userId="ef06bd39-2c7b-4910-9028-4578ed52836d" providerId="ADAL" clId="{F0642C68-AF30-4CBF-BE63-B9B915665008}" dt="2019-06-05T15:01:50.464" v="721"/>
          <ac:spMkLst>
            <pc:docMk/>
            <pc:sldMk cId="424387413" sldId="258"/>
            <ac:spMk id="74" creationId="{3B72267B-DBEF-46D0-A329-64549AE5D3EE}"/>
          </ac:spMkLst>
        </pc:spChg>
        <pc:spChg chg="add del">
          <ac:chgData name="Moutaz Al-Huneidi" userId="ef06bd39-2c7b-4910-9028-4578ed52836d" providerId="ADAL" clId="{F0642C68-AF30-4CBF-BE63-B9B915665008}" dt="2019-06-05T15:01:50.464" v="721"/>
          <ac:spMkLst>
            <pc:docMk/>
            <pc:sldMk cId="424387413" sldId="258"/>
            <ac:spMk id="75" creationId="{BE9A5BD2-1FDE-4F61-A983-F376E42BFE6B}"/>
          </ac:spMkLst>
        </pc:spChg>
        <pc:spChg chg="add del">
          <ac:chgData name="Moutaz Al-Huneidi" userId="ef06bd39-2c7b-4910-9028-4578ed52836d" providerId="ADAL" clId="{F0642C68-AF30-4CBF-BE63-B9B915665008}" dt="2019-06-05T15:01:50.464" v="721"/>
          <ac:spMkLst>
            <pc:docMk/>
            <pc:sldMk cId="424387413" sldId="258"/>
            <ac:spMk id="76" creationId="{6E170671-60AE-4F7E-989A-62A1DE0AF927}"/>
          </ac:spMkLst>
        </pc:spChg>
        <pc:spChg chg="add del">
          <ac:chgData name="Moutaz Al-Huneidi" userId="ef06bd39-2c7b-4910-9028-4578ed52836d" providerId="ADAL" clId="{F0642C68-AF30-4CBF-BE63-B9B915665008}" dt="2019-06-05T15:01:50.464" v="721"/>
          <ac:spMkLst>
            <pc:docMk/>
            <pc:sldMk cId="424387413" sldId="258"/>
            <ac:spMk id="77" creationId="{33A12756-14F1-453D-A522-DD48F25B187C}"/>
          </ac:spMkLst>
        </pc:spChg>
        <pc:spChg chg="add del">
          <ac:chgData name="Moutaz Al-Huneidi" userId="ef06bd39-2c7b-4910-9028-4578ed52836d" providerId="ADAL" clId="{F0642C68-AF30-4CBF-BE63-B9B915665008}" dt="2019-06-05T15:01:50.464" v="721"/>
          <ac:spMkLst>
            <pc:docMk/>
            <pc:sldMk cId="424387413" sldId="258"/>
            <ac:spMk id="78" creationId="{3BC53D11-BDB6-4115-B999-955F88EAC4A2}"/>
          </ac:spMkLst>
        </pc:spChg>
        <pc:spChg chg="add del">
          <ac:chgData name="Moutaz Al-Huneidi" userId="ef06bd39-2c7b-4910-9028-4578ed52836d" providerId="ADAL" clId="{F0642C68-AF30-4CBF-BE63-B9B915665008}" dt="2019-06-05T15:01:50.464" v="721"/>
          <ac:spMkLst>
            <pc:docMk/>
            <pc:sldMk cId="424387413" sldId="258"/>
            <ac:spMk id="79" creationId="{4226ECD8-DA5F-44E2-9A63-F49E671E80A7}"/>
          </ac:spMkLst>
        </pc:spChg>
        <pc:spChg chg="add del">
          <ac:chgData name="Moutaz Al-Huneidi" userId="ef06bd39-2c7b-4910-9028-4578ed52836d" providerId="ADAL" clId="{F0642C68-AF30-4CBF-BE63-B9B915665008}" dt="2019-06-05T15:01:50.464" v="721"/>
          <ac:spMkLst>
            <pc:docMk/>
            <pc:sldMk cId="424387413" sldId="258"/>
            <ac:spMk id="80" creationId="{2685D3D8-C798-447B-86F0-86A2FC075193}"/>
          </ac:spMkLst>
        </pc:spChg>
        <pc:spChg chg="add del">
          <ac:chgData name="Moutaz Al-Huneidi" userId="ef06bd39-2c7b-4910-9028-4578ed52836d" providerId="ADAL" clId="{F0642C68-AF30-4CBF-BE63-B9B915665008}" dt="2019-06-05T15:01:50.464" v="721"/>
          <ac:spMkLst>
            <pc:docMk/>
            <pc:sldMk cId="424387413" sldId="258"/>
            <ac:spMk id="81" creationId="{9FA3B494-BBB6-485E-B726-897392C3C688}"/>
          </ac:spMkLst>
        </pc:spChg>
        <pc:spChg chg="add del">
          <ac:chgData name="Moutaz Al-Huneidi" userId="ef06bd39-2c7b-4910-9028-4578ed52836d" providerId="ADAL" clId="{F0642C68-AF30-4CBF-BE63-B9B915665008}" dt="2019-06-05T15:01:50.464" v="721"/>
          <ac:spMkLst>
            <pc:docMk/>
            <pc:sldMk cId="424387413" sldId="258"/>
            <ac:spMk id="82" creationId="{9D4BADDF-87D3-4E20-ACB6-A88942A2AC08}"/>
          </ac:spMkLst>
        </pc:spChg>
        <pc:spChg chg="add del">
          <ac:chgData name="Moutaz Al-Huneidi" userId="ef06bd39-2c7b-4910-9028-4578ed52836d" providerId="ADAL" clId="{F0642C68-AF30-4CBF-BE63-B9B915665008}" dt="2019-06-05T15:01:50.464" v="721"/>
          <ac:spMkLst>
            <pc:docMk/>
            <pc:sldMk cId="424387413" sldId="258"/>
            <ac:spMk id="83" creationId="{9DB4ACCA-42B0-4437-989B-A07B93359126}"/>
          </ac:spMkLst>
        </pc:spChg>
        <pc:spChg chg="add del">
          <ac:chgData name="Moutaz Al-Huneidi" userId="ef06bd39-2c7b-4910-9028-4578ed52836d" providerId="ADAL" clId="{F0642C68-AF30-4CBF-BE63-B9B915665008}" dt="2019-06-05T15:01:50.464" v="721"/>
          <ac:spMkLst>
            <pc:docMk/>
            <pc:sldMk cId="424387413" sldId="258"/>
            <ac:spMk id="84" creationId="{4BC5E5E9-3E24-412D-9328-1C261682CF03}"/>
          </ac:spMkLst>
        </pc:spChg>
        <pc:spChg chg="add del">
          <ac:chgData name="Moutaz Al-Huneidi" userId="ef06bd39-2c7b-4910-9028-4578ed52836d" providerId="ADAL" clId="{F0642C68-AF30-4CBF-BE63-B9B915665008}" dt="2019-06-05T15:01:50.464" v="721"/>
          <ac:spMkLst>
            <pc:docMk/>
            <pc:sldMk cId="424387413" sldId="258"/>
            <ac:spMk id="85" creationId="{C6CF174B-54F6-4E41-A56A-278E81A523EE}"/>
          </ac:spMkLst>
        </pc:spChg>
        <pc:spChg chg="add del">
          <ac:chgData name="Moutaz Al-Huneidi" userId="ef06bd39-2c7b-4910-9028-4578ed52836d" providerId="ADAL" clId="{F0642C68-AF30-4CBF-BE63-B9B915665008}" dt="2019-06-05T15:01:50.464" v="721"/>
          <ac:spMkLst>
            <pc:docMk/>
            <pc:sldMk cId="424387413" sldId="258"/>
            <ac:spMk id="86" creationId="{03B58C23-13D1-4C7B-A635-953730B4EE62}"/>
          </ac:spMkLst>
        </pc:spChg>
        <pc:spChg chg="add del">
          <ac:chgData name="Moutaz Al-Huneidi" userId="ef06bd39-2c7b-4910-9028-4578ed52836d" providerId="ADAL" clId="{F0642C68-AF30-4CBF-BE63-B9B915665008}" dt="2019-06-05T15:01:50.464" v="721"/>
          <ac:spMkLst>
            <pc:docMk/>
            <pc:sldMk cId="424387413" sldId="258"/>
            <ac:spMk id="87" creationId="{3695144A-AD9C-40D6-8A57-69DCDDB6D034}"/>
          </ac:spMkLst>
        </pc:spChg>
        <pc:spChg chg="add del">
          <ac:chgData name="Moutaz Al-Huneidi" userId="ef06bd39-2c7b-4910-9028-4578ed52836d" providerId="ADAL" clId="{F0642C68-AF30-4CBF-BE63-B9B915665008}" dt="2019-06-05T15:01:50.464" v="721"/>
          <ac:spMkLst>
            <pc:docMk/>
            <pc:sldMk cId="424387413" sldId="258"/>
            <ac:spMk id="88" creationId="{0D2622A3-6900-40D4-BD48-CE0A487B7D99}"/>
          </ac:spMkLst>
        </pc:spChg>
        <pc:spChg chg="add del">
          <ac:chgData name="Moutaz Al-Huneidi" userId="ef06bd39-2c7b-4910-9028-4578ed52836d" providerId="ADAL" clId="{F0642C68-AF30-4CBF-BE63-B9B915665008}" dt="2019-06-05T15:01:50.464" v="721"/>
          <ac:spMkLst>
            <pc:docMk/>
            <pc:sldMk cId="424387413" sldId="258"/>
            <ac:spMk id="89" creationId="{E00E551D-49FC-4B99-859B-CA382D849A26}"/>
          </ac:spMkLst>
        </pc:spChg>
        <pc:spChg chg="add del">
          <ac:chgData name="Moutaz Al-Huneidi" userId="ef06bd39-2c7b-4910-9028-4578ed52836d" providerId="ADAL" clId="{F0642C68-AF30-4CBF-BE63-B9B915665008}" dt="2019-06-05T15:01:50.464" v="721"/>
          <ac:spMkLst>
            <pc:docMk/>
            <pc:sldMk cId="424387413" sldId="258"/>
            <ac:spMk id="90" creationId="{0838DEA9-E7B4-41B2-B1D3-057E74C25F25}"/>
          </ac:spMkLst>
        </pc:spChg>
        <pc:spChg chg="add del">
          <ac:chgData name="Moutaz Al-Huneidi" userId="ef06bd39-2c7b-4910-9028-4578ed52836d" providerId="ADAL" clId="{F0642C68-AF30-4CBF-BE63-B9B915665008}" dt="2019-06-05T15:01:50.464" v="721"/>
          <ac:spMkLst>
            <pc:docMk/>
            <pc:sldMk cId="424387413" sldId="258"/>
            <ac:spMk id="91" creationId="{A507F53D-6707-4A68-B56D-9DAD2498A0EF}"/>
          </ac:spMkLst>
        </pc:spChg>
        <pc:spChg chg="add del">
          <ac:chgData name="Moutaz Al-Huneidi" userId="ef06bd39-2c7b-4910-9028-4578ed52836d" providerId="ADAL" clId="{F0642C68-AF30-4CBF-BE63-B9B915665008}" dt="2019-06-05T15:01:50.464" v="721"/>
          <ac:spMkLst>
            <pc:docMk/>
            <pc:sldMk cId="424387413" sldId="258"/>
            <ac:spMk id="92" creationId="{39207BF6-EF89-419B-881F-F9E79439F8BE}"/>
          </ac:spMkLst>
        </pc:spChg>
        <pc:spChg chg="add del">
          <ac:chgData name="Moutaz Al-Huneidi" userId="ef06bd39-2c7b-4910-9028-4578ed52836d" providerId="ADAL" clId="{F0642C68-AF30-4CBF-BE63-B9B915665008}" dt="2019-06-05T15:01:50.464" v="721"/>
          <ac:spMkLst>
            <pc:docMk/>
            <pc:sldMk cId="424387413" sldId="258"/>
            <ac:spMk id="93" creationId="{3DC8ACD7-7F1A-4E91-AF9D-D81C61E2938E}"/>
          </ac:spMkLst>
        </pc:spChg>
        <pc:spChg chg="add del">
          <ac:chgData name="Moutaz Al-Huneidi" userId="ef06bd39-2c7b-4910-9028-4578ed52836d" providerId="ADAL" clId="{F0642C68-AF30-4CBF-BE63-B9B915665008}" dt="2019-06-05T15:01:50.464" v="721"/>
          <ac:spMkLst>
            <pc:docMk/>
            <pc:sldMk cId="424387413" sldId="258"/>
            <ac:spMk id="94" creationId="{C504CDAD-A664-4283-9638-8C054076CDDF}"/>
          </ac:spMkLst>
        </pc:spChg>
        <pc:spChg chg="add del">
          <ac:chgData name="Moutaz Al-Huneidi" userId="ef06bd39-2c7b-4910-9028-4578ed52836d" providerId="ADAL" clId="{F0642C68-AF30-4CBF-BE63-B9B915665008}" dt="2019-06-05T15:01:50.464" v="721"/>
          <ac:spMkLst>
            <pc:docMk/>
            <pc:sldMk cId="424387413" sldId="258"/>
            <ac:spMk id="95" creationId="{69D37B53-A266-4A9B-89B2-8ABA4A77D55F}"/>
          </ac:spMkLst>
        </pc:spChg>
        <pc:spChg chg="add del">
          <ac:chgData name="Moutaz Al-Huneidi" userId="ef06bd39-2c7b-4910-9028-4578ed52836d" providerId="ADAL" clId="{F0642C68-AF30-4CBF-BE63-B9B915665008}" dt="2019-06-05T15:01:50.464" v="721"/>
          <ac:spMkLst>
            <pc:docMk/>
            <pc:sldMk cId="424387413" sldId="258"/>
            <ac:spMk id="98" creationId="{BAB6AC14-7B35-4E04-B302-157BC6DED8F1}"/>
          </ac:spMkLst>
        </pc:spChg>
        <pc:spChg chg="add del">
          <ac:chgData name="Moutaz Al-Huneidi" userId="ef06bd39-2c7b-4910-9028-4578ed52836d" providerId="ADAL" clId="{F0642C68-AF30-4CBF-BE63-B9B915665008}" dt="2019-06-05T15:01:50.464" v="721"/>
          <ac:spMkLst>
            <pc:docMk/>
            <pc:sldMk cId="424387413" sldId="258"/>
            <ac:spMk id="99" creationId="{84563B8F-8100-4678-89DD-508C7BF7A0F6}"/>
          </ac:spMkLst>
        </pc:spChg>
        <pc:spChg chg="add del">
          <ac:chgData name="Moutaz Al-Huneidi" userId="ef06bd39-2c7b-4910-9028-4578ed52836d" providerId="ADAL" clId="{F0642C68-AF30-4CBF-BE63-B9B915665008}" dt="2019-06-05T15:01:50.464" v="721"/>
          <ac:spMkLst>
            <pc:docMk/>
            <pc:sldMk cId="424387413" sldId="258"/>
            <ac:spMk id="100" creationId="{C9EC6B22-81E4-4B15-BA73-21E2C25E52DD}"/>
          </ac:spMkLst>
        </pc:spChg>
        <pc:spChg chg="add del">
          <ac:chgData name="Moutaz Al-Huneidi" userId="ef06bd39-2c7b-4910-9028-4578ed52836d" providerId="ADAL" clId="{F0642C68-AF30-4CBF-BE63-B9B915665008}" dt="2019-06-05T15:01:50.464" v="721"/>
          <ac:spMkLst>
            <pc:docMk/>
            <pc:sldMk cId="424387413" sldId="258"/>
            <ac:spMk id="101" creationId="{981E7C7D-9F73-4DBC-A5E5-0816E289A36C}"/>
          </ac:spMkLst>
        </pc:spChg>
        <pc:spChg chg="add">
          <ac:chgData name="Moutaz Al-Huneidi" userId="ef06bd39-2c7b-4910-9028-4578ed52836d" providerId="ADAL" clId="{F0642C68-AF30-4CBF-BE63-B9B915665008}" dt="2019-06-05T21:50:59.818" v="985"/>
          <ac:spMkLst>
            <pc:docMk/>
            <pc:sldMk cId="424387413" sldId="258"/>
            <ac:spMk id="101" creationId="{FD3A70CE-A371-4962-98D2-7496FC89DA7B}"/>
          </ac:spMkLst>
        </pc:spChg>
        <pc:spChg chg="add mod">
          <ac:chgData name="Moutaz Al-Huneidi" userId="ef06bd39-2c7b-4910-9028-4578ed52836d" providerId="ADAL" clId="{F0642C68-AF30-4CBF-BE63-B9B915665008}" dt="2019-06-06T17:54:50.850" v="2914" actId="571"/>
          <ac:spMkLst>
            <pc:docMk/>
            <pc:sldMk cId="424387413" sldId="258"/>
            <ac:spMk id="102" creationId="{F53307F4-5FE7-4F28-940E-CD2A5C0B0738}"/>
          </ac:spMkLst>
        </pc:spChg>
        <pc:spChg chg="add">
          <ac:chgData name="Moutaz Al-Huneidi" userId="ef06bd39-2c7b-4910-9028-4578ed52836d" providerId="ADAL" clId="{F0642C68-AF30-4CBF-BE63-B9B915665008}" dt="2019-06-05T15:02:02.461" v="722"/>
          <ac:spMkLst>
            <pc:docMk/>
            <pc:sldMk cId="424387413" sldId="258"/>
            <ac:spMk id="113" creationId="{D50ECFF2-85B3-4894-A10D-24565DCD8DA8}"/>
          </ac:spMkLst>
        </pc:spChg>
        <pc:spChg chg="add mod">
          <ac:chgData name="Moutaz Al-Huneidi" userId="ef06bd39-2c7b-4910-9028-4578ed52836d" providerId="ADAL" clId="{F0642C68-AF30-4CBF-BE63-B9B915665008}" dt="2019-06-06T17:54:19.841" v="2911" actId="113"/>
          <ac:spMkLst>
            <pc:docMk/>
            <pc:sldMk cId="424387413" sldId="258"/>
            <ac:spMk id="114" creationId="{9D20ABED-1370-4890-840E-1D1C1A75DD3A}"/>
          </ac:spMkLst>
        </pc:spChg>
        <pc:spChg chg="add">
          <ac:chgData name="Moutaz Al-Huneidi" userId="ef06bd39-2c7b-4910-9028-4578ed52836d" providerId="ADAL" clId="{F0642C68-AF30-4CBF-BE63-B9B915665008}" dt="2019-06-05T15:02:02.461" v="722"/>
          <ac:spMkLst>
            <pc:docMk/>
            <pc:sldMk cId="424387413" sldId="258"/>
            <ac:spMk id="115" creationId="{E07E0B21-7674-4C46-83EF-69DBD7442387}"/>
          </ac:spMkLst>
        </pc:spChg>
        <pc:spChg chg="add">
          <ac:chgData name="Moutaz Al-Huneidi" userId="ef06bd39-2c7b-4910-9028-4578ed52836d" providerId="ADAL" clId="{F0642C68-AF30-4CBF-BE63-B9B915665008}" dt="2019-06-05T15:02:02.461" v="722"/>
          <ac:spMkLst>
            <pc:docMk/>
            <pc:sldMk cId="424387413" sldId="258"/>
            <ac:spMk id="116" creationId="{DF2A919A-5995-4F6C-9C66-A194ECFFEDE9}"/>
          </ac:spMkLst>
        </pc:spChg>
        <pc:spChg chg="add">
          <ac:chgData name="Moutaz Al-Huneidi" userId="ef06bd39-2c7b-4910-9028-4578ed52836d" providerId="ADAL" clId="{F0642C68-AF30-4CBF-BE63-B9B915665008}" dt="2019-06-05T15:02:02.461" v="722"/>
          <ac:spMkLst>
            <pc:docMk/>
            <pc:sldMk cId="424387413" sldId="258"/>
            <ac:spMk id="117" creationId="{9976A43B-8EA1-469F-840D-6D0BAC32B1AA}"/>
          </ac:spMkLst>
        </pc:spChg>
        <pc:spChg chg="add">
          <ac:chgData name="Moutaz Al-Huneidi" userId="ef06bd39-2c7b-4910-9028-4578ed52836d" providerId="ADAL" clId="{F0642C68-AF30-4CBF-BE63-B9B915665008}" dt="2019-06-05T15:02:02.461" v="722"/>
          <ac:spMkLst>
            <pc:docMk/>
            <pc:sldMk cId="424387413" sldId="258"/>
            <ac:spMk id="118" creationId="{C861C12F-4605-4554-AA24-8124F37023AF}"/>
          </ac:spMkLst>
        </pc:spChg>
        <pc:spChg chg="add">
          <ac:chgData name="Moutaz Al-Huneidi" userId="ef06bd39-2c7b-4910-9028-4578ed52836d" providerId="ADAL" clId="{F0642C68-AF30-4CBF-BE63-B9B915665008}" dt="2019-06-05T15:02:02.461" v="722"/>
          <ac:spMkLst>
            <pc:docMk/>
            <pc:sldMk cId="424387413" sldId="258"/>
            <ac:spMk id="119" creationId="{C97C9380-41AB-4353-9545-877D03EA77DB}"/>
          </ac:spMkLst>
        </pc:spChg>
        <pc:spChg chg="add">
          <ac:chgData name="Moutaz Al-Huneidi" userId="ef06bd39-2c7b-4910-9028-4578ed52836d" providerId="ADAL" clId="{F0642C68-AF30-4CBF-BE63-B9B915665008}" dt="2019-06-05T15:02:02.461" v="722"/>
          <ac:spMkLst>
            <pc:docMk/>
            <pc:sldMk cId="424387413" sldId="258"/>
            <ac:spMk id="120" creationId="{45978398-8904-47CD-9AB6-963E952D7E04}"/>
          </ac:spMkLst>
        </pc:spChg>
        <pc:spChg chg="add">
          <ac:chgData name="Moutaz Al-Huneidi" userId="ef06bd39-2c7b-4910-9028-4578ed52836d" providerId="ADAL" clId="{F0642C68-AF30-4CBF-BE63-B9B915665008}" dt="2019-06-05T15:02:02.461" v="722"/>
          <ac:spMkLst>
            <pc:docMk/>
            <pc:sldMk cId="424387413" sldId="258"/>
            <ac:spMk id="121" creationId="{1EC42A69-673F-4675-B125-B25A792E97A3}"/>
          </ac:spMkLst>
        </pc:spChg>
        <pc:spChg chg="add">
          <ac:chgData name="Moutaz Al-Huneidi" userId="ef06bd39-2c7b-4910-9028-4578ed52836d" providerId="ADAL" clId="{F0642C68-AF30-4CBF-BE63-B9B915665008}" dt="2019-06-05T15:02:02.461" v="722"/>
          <ac:spMkLst>
            <pc:docMk/>
            <pc:sldMk cId="424387413" sldId="258"/>
            <ac:spMk id="122" creationId="{70C7BE27-3DF4-41FB-B534-32A5AB0EE1EB}"/>
          </ac:spMkLst>
        </pc:spChg>
        <pc:spChg chg="add">
          <ac:chgData name="Moutaz Al-Huneidi" userId="ef06bd39-2c7b-4910-9028-4578ed52836d" providerId="ADAL" clId="{F0642C68-AF30-4CBF-BE63-B9B915665008}" dt="2019-06-05T15:02:02.461" v="722"/>
          <ac:spMkLst>
            <pc:docMk/>
            <pc:sldMk cId="424387413" sldId="258"/>
            <ac:spMk id="123" creationId="{6F1012E6-10F6-4E59-90DC-0DC5BC4D5E3E}"/>
          </ac:spMkLst>
        </pc:spChg>
        <pc:spChg chg="add">
          <ac:chgData name="Moutaz Al-Huneidi" userId="ef06bd39-2c7b-4910-9028-4578ed52836d" providerId="ADAL" clId="{F0642C68-AF30-4CBF-BE63-B9B915665008}" dt="2019-06-05T15:02:02.461" v="722"/>
          <ac:spMkLst>
            <pc:docMk/>
            <pc:sldMk cId="424387413" sldId="258"/>
            <ac:spMk id="124" creationId="{A7B41895-B86D-4EDC-BC66-01674252F2AF}"/>
          </ac:spMkLst>
        </pc:spChg>
        <pc:spChg chg="add">
          <ac:chgData name="Moutaz Al-Huneidi" userId="ef06bd39-2c7b-4910-9028-4578ed52836d" providerId="ADAL" clId="{F0642C68-AF30-4CBF-BE63-B9B915665008}" dt="2019-06-05T15:02:02.461" v="722"/>
          <ac:spMkLst>
            <pc:docMk/>
            <pc:sldMk cId="424387413" sldId="258"/>
            <ac:spMk id="125" creationId="{E19460F4-5576-4766-A550-6D37FCF982B2}"/>
          </ac:spMkLst>
        </pc:spChg>
        <pc:spChg chg="add">
          <ac:chgData name="Moutaz Al-Huneidi" userId="ef06bd39-2c7b-4910-9028-4578ed52836d" providerId="ADAL" clId="{F0642C68-AF30-4CBF-BE63-B9B915665008}" dt="2019-06-05T15:02:02.461" v="722"/>
          <ac:spMkLst>
            <pc:docMk/>
            <pc:sldMk cId="424387413" sldId="258"/>
            <ac:spMk id="126" creationId="{33D5EC2C-C0B6-49CC-BD23-43D5E2FB4E43}"/>
          </ac:spMkLst>
        </pc:spChg>
        <pc:spChg chg="add">
          <ac:chgData name="Moutaz Al-Huneidi" userId="ef06bd39-2c7b-4910-9028-4578ed52836d" providerId="ADAL" clId="{F0642C68-AF30-4CBF-BE63-B9B915665008}" dt="2019-06-05T15:02:02.461" v="722"/>
          <ac:spMkLst>
            <pc:docMk/>
            <pc:sldMk cId="424387413" sldId="258"/>
            <ac:spMk id="127" creationId="{27DE780C-3B22-4906-A111-8BE9324F3F5D}"/>
          </ac:spMkLst>
        </pc:spChg>
        <pc:spChg chg="add">
          <ac:chgData name="Moutaz Al-Huneidi" userId="ef06bd39-2c7b-4910-9028-4578ed52836d" providerId="ADAL" clId="{F0642C68-AF30-4CBF-BE63-B9B915665008}" dt="2019-06-05T15:02:02.461" v="722"/>
          <ac:spMkLst>
            <pc:docMk/>
            <pc:sldMk cId="424387413" sldId="258"/>
            <ac:spMk id="128" creationId="{FE4AB13C-AFEF-47C9-ADEC-42BA2536573F}"/>
          </ac:spMkLst>
        </pc:spChg>
        <pc:spChg chg="add">
          <ac:chgData name="Moutaz Al-Huneidi" userId="ef06bd39-2c7b-4910-9028-4578ed52836d" providerId="ADAL" clId="{F0642C68-AF30-4CBF-BE63-B9B915665008}" dt="2019-06-05T15:02:02.461" v="722"/>
          <ac:spMkLst>
            <pc:docMk/>
            <pc:sldMk cId="424387413" sldId="258"/>
            <ac:spMk id="129" creationId="{96C70966-2184-4B02-B075-8FBFA7C0CE79}"/>
          </ac:spMkLst>
        </pc:spChg>
        <pc:spChg chg="add">
          <ac:chgData name="Moutaz Al-Huneidi" userId="ef06bd39-2c7b-4910-9028-4578ed52836d" providerId="ADAL" clId="{F0642C68-AF30-4CBF-BE63-B9B915665008}" dt="2019-06-05T15:02:02.461" v="722"/>
          <ac:spMkLst>
            <pc:docMk/>
            <pc:sldMk cId="424387413" sldId="258"/>
            <ac:spMk id="130" creationId="{9988891C-870C-4CBC-9A98-DE4A71C54DD4}"/>
          </ac:spMkLst>
        </pc:spChg>
        <pc:spChg chg="add">
          <ac:chgData name="Moutaz Al-Huneidi" userId="ef06bd39-2c7b-4910-9028-4578ed52836d" providerId="ADAL" clId="{F0642C68-AF30-4CBF-BE63-B9B915665008}" dt="2019-06-05T15:02:02.461" v="722"/>
          <ac:spMkLst>
            <pc:docMk/>
            <pc:sldMk cId="424387413" sldId="258"/>
            <ac:spMk id="142" creationId="{F443C40D-3C75-4E6C-9F2D-862AF4DBCA19}"/>
          </ac:spMkLst>
        </pc:spChg>
        <pc:spChg chg="add">
          <ac:chgData name="Moutaz Al-Huneidi" userId="ef06bd39-2c7b-4910-9028-4578ed52836d" providerId="ADAL" clId="{F0642C68-AF30-4CBF-BE63-B9B915665008}" dt="2019-06-05T15:02:02.461" v="722"/>
          <ac:spMkLst>
            <pc:docMk/>
            <pc:sldMk cId="424387413" sldId="258"/>
            <ac:spMk id="143" creationId="{49B7EF95-E72C-477A-8220-99831C5E3D71}"/>
          </ac:spMkLst>
        </pc:spChg>
        <pc:spChg chg="add">
          <ac:chgData name="Moutaz Al-Huneidi" userId="ef06bd39-2c7b-4910-9028-4578ed52836d" providerId="ADAL" clId="{F0642C68-AF30-4CBF-BE63-B9B915665008}" dt="2019-06-05T15:02:02.461" v="722"/>
          <ac:spMkLst>
            <pc:docMk/>
            <pc:sldMk cId="424387413" sldId="258"/>
            <ac:spMk id="144" creationId="{1DCFAA87-6DBB-4250-8326-EDA1F91327C6}"/>
          </ac:spMkLst>
        </pc:spChg>
        <pc:spChg chg="add">
          <ac:chgData name="Moutaz Al-Huneidi" userId="ef06bd39-2c7b-4910-9028-4578ed52836d" providerId="ADAL" clId="{F0642C68-AF30-4CBF-BE63-B9B915665008}" dt="2019-06-05T15:02:02.461" v="722"/>
          <ac:spMkLst>
            <pc:docMk/>
            <pc:sldMk cId="424387413" sldId="258"/>
            <ac:spMk id="145" creationId="{490CCA04-6479-43C5-9988-633BC2FBB953}"/>
          </ac:spMkLst>
        </pc:spChg>
        <pc:spChg chg="add">
          <ac:chgData name="Moutaz Al-Huneidi" userId="ef06bd39-2c7b-4910-9028-4578ed52836d" providerId="ADAL" clId="{F0642C68-AF30-4CBF-BE63-B9B915665008}" dt="2019-06-05T15:02:02.461" v="722"/>
          <ac:spMkLst>
            <pc:docMk/>
            <pc:sldMk cId="424387413" sldId="258"/>
            <ac:spMk id="146" creationId="{8687F1D2-C1B3-492E-87E6-D79DE9521871}"/>
          </ac:spMkLst>
        </pc:spChg>
        <pc:spChg chg="add">
          <ac:chgData name="Moutaz Al-Huneidi" userId="ef06bd39-2c7b-4910-9028-4578ed52836d" providerId="ADAL" clId="{F0642C68-AF30-4CBF-BE63-B9B915665008}" dt="2019-06-05T15:02:02.461" v="722"/>
          <ac:spMkLst>
            <pc:docMk/>
            <pc:sldMk cId="424387413" sldId="258"/>
            <ac:spMk id="147" creationId="{B9494BD5-3A0A-4ECB-A269-FDFF533296B9}"/>
          </ac:spMkLst>
        </pc:spChg>
        <pc:spChg chg="add">
          <ac:chgData name="Moutaz Al-Huneidi" userId="ef06bd39-2c7b-4910-9028-4578ed52836d" providerId="ADAL" clId="{F0642C68-AF30-4CBF-BE63-B9B915665008}" dt="2019-06-05T15:02:02.461" v="722"/>
          <ac:spMkLst>
            <pc:docMk/>
            <pc:sldMk cId="424387413" sldId="258"/>
            <ac:spMk id="148" creationId="{FD69A6A8-4D40-4D36-B205-716525F1B203}"/>
          </ac:spMkLst>
        </pc:spChg>
        <pc:spChg chg="add">
          <ac:chgData name="Moutaz Al-Huneidi" userId="ef06bd39-2c7b-4910-9028-4578ed52836d" providerId="ADAL" clId="{F0642C68-AF30-4CBF-BE63-B9B915665008}" dt="2019-06-05T15:02:02.461" v="722"/>
          <ac:spMkLst>
            <pc:docMk/>
            <pc:sldMk cId="424387413" sldId="258"/>
            <ac:spMk id="149" creationId="{98D1E1F3-C75B-49B1-B23E-0062FDB1B572}"/>
          </ac:spMkLst>
        </pc:spChg>
        <pc:spChg chg="add">
          <ac:chgData name="Moutaz Al-Huneidi" userId="ef06bd39-2c7b-4910-9028-4578ed52836d" providerId="ADAL" clId="{F0642C68-AF30-4CBF-BE63-B9B915665008}" dt="2019-06-05T15:02:02.461" v="722"/>
          <ac:spMkLst>
            <pc:docMk/>
            <pc:sldMk cId="424387413" sldId="258"/>
            <ac:spMk id="150" creationId="{1A16D49F-9E92-461D-BFC8-A2758C349EE7}"/>
          </ac:spMkLst>
        </pc:spChg>
        <pc:spChg chg="add">
          <ac:chgData name="Moutaz Al-Huneidi" userId="ef06bd39-2c7b-4910-9028-4578ed52836d" providerId="ADAL" clId="{F0642C68-AF30-4CBF-BE63-B9B915665008}" dt="2019-06-05T15:02:02.461" v="722"/>
          <ac:spMkLst>
            <pc:docMk/>
            <pc:sldMk cId="424387413" sldId="258"/>
            <ac:spMk id="151" creationId="{F181C517-8C39-4171-AE68-3C8EB6296452}"/>
          </ac:spMkLst>
        </pc:spChg>
        <pc:spChg chg="add">
          <ac:chgData name="Moutaz Al-Huneidi" userId="ef06bd39-2c7b-4910-9028-4578ed52836d" providerId="ADAL" clId="{F0642C68-AF30-4CBF-BE63-B9B915665008}" dt="2019-06-05T15:02:02.461" v="722"/>
          <ac:spMkLst>
            <pc:docMk/>
            <pc:sldMk cId="424387413" sldId="258"/>
            <ac:spMk id="152" creationId="{4ABBD5B3-8910-47BF-8396-C800EF4BEB9C}"/>
          </ac:spMkLst>
        </pc:spChg>
        <pc:spChg chg="add">
          <ac:chgData name="Moutaz Al-Huneidi" userId="ef06bd39-2c7b-4910-9028-4578ed52836d" providerId="ADAL" clId="{F0642C68-AF30-4CBF-BE63-B9B915665008}" dt="2019-06-05T15:02:02.461" v="722"/>
          <ac:spMkLst>
            <pc:docMk/>
            <pc:sldMk cId="424387413" sldId="258"/>
            <ac:spMk id="153" creationId="{FEEDE2DA-8B81-49A0-A7DA-FEAF075FCCDD}"/>
          </ac:spMkLst>
        </pc:spChg>
        <pc:spChg chg="add mod">
          <ac:chgData name="Moutaz Al-Huneidi" userId="ef06bd39-2c7b-4910-9028-4578ed52836d" providerId="ADAL" clId="{F0642C68-AF30-4CBF-BE63-B9B915665008}" dt="2019-06-06T17:54:25.880" v="2912" actId="113"/>
          <ac:spMkLst>
            <pc:docMk/>
            <pc:sldMk cId="424387413" sldId="258"/>
            <ac:spMk id="154" creationId="{A138BAC8-5F7A-41C5-9269-978EFF75D106}"/>
          </ac:spMkLst>
        </pc:spChg>
        <pc:spChg chg="add">
          <ac:chgData name="Moutaz Al-Huneidi" userId="ef06bd39-2c7b-4910-9028-4578ed52836d" providerId="ADAL" clId="{F0642C68-AF30-4CBF-BE63-B9B915665008}" dt="2019-06-05T15:02:02.461" v="722"/>
          <ac:spMkLst>
            <pc:docMk/>
            <pc:sldMk cId="424387413" sldId="258"/>
            <ac:spMk id="155" creationId="{BA4A2844-85B0-470C-A359-EB7181924FFB}"/>
          </ac:spMkLst>
        </pc:spChg>
        <pc:spChg chg="add">
          <ac:chgData name="Moutaz Al-Huneidi" userId="ef06bd39-2c7b-4910-9028-4578ed52836d" providerId="ADAL" clId="{F0642C68-AF30-4CBF-BE63-B9B915665008}" dt="2019-06-05T15:02:02.461" v="722"/>
          <ac:spMkLst>
            <pc:docMk/>
            <pc:sldMk cId="424387413" sldId="258"/>
            <ac:spMk id="156" creationId="{9A79F9E3-E863-4AA0-A1D0-59F915F7EE47}"/>
          </ac:spMkLst>
        </pc:spChg>
        <pc:spChg chg="add">
          <ac:chgData name="Moutaz Al-Huneidi" userId="ef06bd39-2c7b-4910-9028-4578ed52836d" providerId="ADAL" clId="{F0642C68-AF30-4CBF-BE63-B9B915665008}" dt="2019-06-05T15:02:02.461" v="722"/>
          <ac:spMkLst>
            <pc:docMk/>
            <pc:sldMk cId="424387413" sldId="258"/>
            <ac:spMk id="157" creationId="{AF032D4E-EE1F-4CE2-BBA9-0C773BAE2D0E}"/>
          </ac:spMkLst>
        </pc:spChg>
        <pc:spChg chg="add">
          <ac:chgData name="Moutaz Al-Huneidi" userId="ef06bd39-2c7b-4910-9028-4578ed52836d" providerId="ADAL" clId="{F0642C68-AF30-4CBF-BE63-B9B915665008}" dt="2019-06-05T15:02:02.461" v="722"/>
          <ac:spMkLst>
            <pc:docMk/>
            <pc:sldMk cId="424387413" sldId="258"/>
            <ac:spMk id="158" creationId="{61886537-87BA-4D43-A8B6-1FC76896F003}"/>
          </ac:spMkLst>
        </pc:spChg>
        <pc:spChg chg="add">
          <ac:chgData name="Moutaz Al-Huneidi" userId="ef06bd39-2c7b-4910-9028-4578ed52836d" providerId="ADAL" clId="{F0642C68-AF30-4CBF-BE63-B9B915665008}" dt="2019-06-05T15:02:02.461" v="722"/>
          <ac:spMkLst>
            <pc:docMk/>
            <pc:sldMk cId="424387413" sldId="258"/>
            <ac:spMk id="159" creationId="{C984BF22-3945-4EEE-B83B-3B8B04D1C9F4}"/>
          </ac:spMkLst>
        </pc:spChg>
        <pc:spChg chg="add">
          <ac:chgData name="Moutaz Al-Huneidi" userId="ef06bd39-2c7b-4910-9028-4578ed52836d" providerId="ADAL" clId="{F0642C68-AF30-4CBF-BE63-B9B915665008}" dt="2019-06-05T15:02:02.461" v="722"/>
          <ac:spMkLst>
            <pc:docMk/>
            <pc:sldMk cId="424387413" sldId="258"/>
            <ac:spMk id="160" creationId="{6F248250-C9C7-4879-94F9-D2488EB9758E}"/>
          </ac:spMkLst>
        </pc:spChg>
        <pc:spChg chg="add">
          <ac:chgData name="Moutaz Al-Huneidi" userId="ef06bd39-2c7b-4910-9028-4578ed52836d" providerId="ADAL" clId="{F0642C68-AF30-4CBF-BE63-B9B915665008}" dt="2019-06-05T15:02:02.461" v="722"/>
          <ac:spMkLst>
            <pc:docMk/>
            <pc:sldMk cId="424387413" sldId="258"/>
            <ac:spMk id="161" creationId="{CBF82465-9463-4DE4-97E6-D91B14B68368}"/>
          </ac:spMkLst>
        </pc:spChg>
        <pc:spChg chg="add">
          <ac:chgData name="Moutaz Al-Huneidi" userId="ef06bd39-2c7b-4910-9028-4578ed52836d" providerId="ADAL" clId="{F0642C68-AF30-4CBF-BE63-B9B915665008}" dt="2019-06-05T15:02:02.461" v="722"/>
          <ac:spMkLst>
            <pc:docMk/>
            <pc:sldMk cId="424387413" sldId="258"/>
            <ac:spMk id="162" creationId="{193576B1-0DDD-498B-B6FD-C30E2D3C76FD}"/>
          </ac:spMkLst>
        </pc:spChg>
        <pc:spChg chg="add">
          <ac:chgData name="Moutaz Al-Huneidi" userId="ef06bd39-2c7b-4910-9028-4578ed52836d" providerId="ADAL" clId="{F0642C68-AF30-4CBF-BE63-B9B915665008}" dt="2019-06-05T15:02:02.461" v="722"/>
          <ac:spMkLst>
            <pc:docMk/>
            <pc:sldMk cId="424387413" sldId="258"/>
            <ac:spMk id="163" creationId="{8F9C0035-46A5-4999-8C20-01BF0317C1D7}"/>
          </ac:spMkLst>
        </pc:spChg>
        <pc:spChg chg="add">
          <ac:chgData name="Moutaz Al-Huneidi" userId="ef06bd39-2c7b-4910-9028-4578ed52836d" providerId="ADAL" clId="{F0642C68-AF30-4CBF-BE63-B9B915665008}" dt="2019-06-05T15:02:02.461" v="722"/>
          <ac:spMkLst>
            <pc:docMk/>
            <pc:sldMk cId="424387413" sldId="258"/>
            <ac:spMk id="164" creationId="{9C801A89-474D-4F1C-B36F-D7D6FC0693AF}"/>
          </ac:spMkLst>
        </pc:spChg>
        <pc:spChg chg="add">
          <ac:chgData name="Moutaz Al-Huneidi" userId="ef06bd39-2c7b-4910-9028-4578ed52836d" providerId="ADAL" clId="{F0642C68-AF30-4CBF-BE63-B9B915665008}" dt="2019-06-05T15:02:02.461" v="722"/>
          <ac:spMkLst>
            <pc:docMk/>
            <pc:sldMk cId="424387413" sldId="258"/>
            <ac:spMk id="165" creationId="{C393F63A-A15F-4E4F-9CB7-FD59337883F7}"/>
          </ac:spMkLst>
        </pc:spChg>
        <pc:spChg chg="add">
          <ac:chgData name="Moutaz Al-Huneidi" userId="ef06bd39-2c7b-4910-9028-4578ed52836d" providerId="ADAL" clId="{F0642C68-AF30-4CBF-BE63-B9B915665008}" dt="2019-06-05T15:02:02.461" v="722"/>
          <ac:spMkLst>
            <pc:docMk/>
            <pc:sldMk cId="424387413" sldId="258"/>
            <ac:spMk id="166" creationId="{7E0422C3-7756-4BA9-ABC2-92390D5F2C64}"/>
          </ac:spMkLst>
        </pc:spChg>
        <pc:spChg chg="add">
          <ac:chgData name="Moutaz Al-Huneidi" userId="ef06bd39-2c7b-4910-9028-4578ed52836d" providerId="ADAL" clId="{F0642C68-AF30-4CBF-BE63-B9B915665008}" dt="2019-06-05T15:02:02.461" v="722"/>
          <ac:spMkLst>
            <pc:docMk/>
            <pc:sldMk cId="424387413" sldId="258"/>
            <ac:spMk id="167" creationId="{3D9F7ED1-F15A-432F-816C-0C0FF016550B}"/>
          </ac:spMkLst>
        </pc:spChg>
        <pc:spChg chg="add">
          <ac:chgData name="Moutaz Al-Huneidi" userId="ef06bd39-2c7b-4910-9028-4578ed52836d" providerId="ADAL" clId="{F0642C68-AF30-4CBF-BE63-B9B915665008}" dt="2019-06-05T15:02:02.461" v="722"/>
          <ac:spMkLst>
            <pc:docMk/>
            <pc:sldMk cId="424387413" sldId="258"/>
            <ac:spMk id="168" creationId="{BD92118A-17CD-40BD-A054-C7CF11185FC1}"/>
          </ac:spMkLst>
        </pc:spChg>
        <pc:spChg chg="add">
          <ac:chgData name="Moutaz Al-Huneidi" userId="ef06bd39-2c7b-4910-9028-4578ed52836d" providerId="ADAL" clId="{F0642C68-AF30-4CBF-BE63-B9B915665008}" dt="2019-06-05T15:02:02.461" v="722"/>
          <ac:spMkLst>
            <pc:docMk/>
            <pc:sldMk cId="424387413" sldId="258"/>
            <ac:spMk id="169" creationId="{E55D70A0-7E23-4047-AC89-0E722F26DB20}"/>
          </ac:spMkLst>
        </pc:spChg>
        <pc:spChg chg="add">
          <ac:chgData name="Moutaz Al-Huneidi" userId="ef06bd39-2c7b-4910-9028-4578ed52836d" providerId="ADAL" clId="{F0642C68-AF30-4CBF-BE63-B9B915665008}" dt="2019-06-05T15:02:02.461" v="722"/>
          <ac:spMkLst>
            <pc:docMk/>
            <pc:sldMk cId="424387413" sldId="258"/>
            <ac:spMk id="170" creationId="{E0B671A0-7CA2-4965-9B29-622E1F0A09B0}"/>
          </ac:spMkLst>
        </pc:spChg>
        <pc:spChg chg="add">
          <ac:chgData name="Moutaz Al-Huneidi" userId="ef06bd39-2c7b-4910-9028-4578ed52836d" providerId="ADAL" clId="{F0642C68-AF30-4CBF-BE63-B9B915665008}" dt="2019-06-05T15:02:02.461" v="722"/>
          <ac:spMkLst>
            <pc:docMk/>
            <pc:sldMk cId="424387413" sldId="258"/>
            <ac:spMk id="171" creationId="{95529CD0-439C-4416-B2E7-951178AB704E}"/>
          </ac:spMkLst>
        </pc:spChg>
        <pc:spChg chg="add">
          <ac:chgData name="Moutaz Al-Huneidi" userId="ef06bd39-2c7b-4910-9028-4578ed52836d" providerId="ADAL" clId="{F0642C68-AF30-4CBF-BE63-B9B915665008}" dt="2019-06-05T15:02:02.461" v="722"/>
          <ac:spMkLst>
            <pc:docMk/>
            <pc:sldMk cId="424387413" sldId="258"/>
            <ac:spMk id="172" creationId="{A05A748D-DA5E-4FA4-A730-82E7D279986D}"/>
          </ac:spMkLst>
        </pc:spChg>
        <pc:spChg chg="add">
          <ac:chgData name="Moutaz Al-Huneidi" userId="ef06bd39-2c7b-4910-9028-4578ed52836d" providerId="ADAL" clId="{F0642C68-AF30-4CBF-BE63-B9B915665008}" dt="2019-06-05T15:02:02.461" v="722"/>
          <ac:spMkLst>
            <pc:docMk/>
            <pc:sldMk cId="424387413" sldId="258"/>
            <ac:spMk id="173" creationId="{225222F5-F467-40A1-B8E3-218BF404D249}"/>
          </ac:spMkLst>
        </pc:spChg>
        <pc:spChg chg="add">
          <ac:chgData name="Moutaz Al-Huneidi" userId="ef06bd39-2c7b-4910-9028-4578ed52836d" providerId="ADAL" clId="{F0642C68-AF30-4CBF-BE63-B9B915665008}" dt="2019-06-05T15:02:02.461" v="722"/>
          <ac:spMkLst>
            <pc:docMk/>
            <pc:sldMk cId="424387413" sldId="258"/>
            <ac:spMk id="174" creationId="{2B538BC8-5653-4139-B0CB-C6B3146655F7}"/>
          </ac:spMkLst>
        </pc:spChg>
        <pc:spChg chg="add">
          <ac:chgData name="Moutaz Al-Huneidi" userId="ef06bd39-2c7b-4910-9028-4578ed52836d" providerId="ADAL" clId="{F0642C68-AF30-4CBF-BE63-B9B915665008}" dt="2019-06-05T15:02:02.461" v="722"/>
          <ac:spMkLst>
            <pc:docMk/>
            <pc:sldMk cId="424387413" sldId="258"/>
            <ac:spMk id="175" creationId="{3AB81696-1B3E-4959-8988-E91DF23FE1C3}"/>
          </ac:spMkLst>
        </pc:spChg>
        <pc:spChg chg="add">
          <ac:chgData name="Moutaz Al-Huneidi" userId="ef06bd39-2c7b-4910-9028-4578ed52836d" providerId="ADAL" clId="{F0642C68-AF30-4CBF-BE63-B9B915665008}" dt="2019-06-05T15:02:02.461" v="722"/>
          <ac:spMkLst>
            <pc:docMk/>
            <pc:sldMk cId="424387413" sldId="258"/>
            <ac:spMk id="176" creationId="{A7E6C580-1328-4160-8B85-ED6E5CC535AD}"/>
          </ac:spMkLst>
        </pc:spChg>
        <pc:spChg chg="add">
          <ac:chgData name="Moutaz Al-Huneidi" userId="ef06bd39-2c7b-4910-9028-4578ed52836d" providerId="ADAL" clId="{F0642C68-AF30-4CBF-BE63-B9B915665008}" dt="2019-06-05T15:02:02.461" v="722"/>
          <ac:spMkLst>
            <pc:docMk/>
            <pc:sldMk cId="424387413" sldId="258"/>
            <ac:spMk id="177" creationId="{94F627E1-B600-4315-829C-A2366A51DFF2}"/>
          </ac:spMkLst>
        </pc:spChg>
        <pc:spChg chg="add">
          <ac:chgData name="Moutaz Al-Huneidi" userId="ef06bd39-2c7b-4910-9028-4578ed52836d" providerId="ADAL" clId="{F0642C68-AF30-4CBF-BE63-B9B915665008}" dt="2019-06-05T15:02:02.461" v="722"/>
          <ac:spMkLst>
            <pc:docMk/>
            <pc:sldMk cId="424387413" sldId="258"/>
            <ac:spMk id="178" creationId="{CE9E02D7-4B7D-49DA-8643-7B69CA747574}"/>
          </ac:spMkLst>
        </pc:spChg>
        <pc:spChg chg="add">
          <ac:chgData name="Moutaz Al-Huneidi" userId="ef06bd39-2c7b-4910-9028-4578ed52836d" providerId="ADAL" clId="{F0642C68-AF30-4CBF-BE63-B9B915665008}" dt="2019-06-05T15:02:02.461" v="722"/>
          <ac:spMkLst>
            <pc:docMk/>
            <pc:sldMk cId="424387413" sldId="258"/>
            <ac:spMk id="181" creationId="{FE6D3A05-BB32-4DEC-A4B6-A470E8289062}"/>
          </ac:spMkLst>
        </pc:spChg>
        <pc:spChg chg="add">
          <ac:chgData name="Moutaz Al-Huneidi" userId="ef06bd39-2c7b-4910-9028-4578ed52836d" providerId="ADAL" clId="{F0642C68-AF30-4CBF-BE63-B9B915665008}" dt="2019-06-05T15:02:02.461" v="722"/>
          <ac:spMkLst>
            <pc:docMk/>
            <pc:sldMk cId="424387413" sldId="258"/>
            <ac:spMk id="182" creationId="{A73A7185-BB28-4C62-B143-22E24234ECFD}"/>
          </ac:spMkLst>
        </pc:spChg>
        <pc:spChg chg="add">
          <ac:chgData name="Moutaz Al-Huneidi" userId="ef06bd39-2c7b-4910-9028-4578ed52836d" providerId="ADAL" clId="{F0642C68-AF30-4CBF-BE63-B9B915665008}" dt="2019-06-05T15:02:02.461" v="722"/>
          <ac:spMkLst>
            <pc:docMk/>
            <pc:sldMk cId="424387413" sldId="258"/>
            <ac:spMk id="183" creationId="{18C6F4B2-A3CB-4FEC-8C51-8769B572758F}"/>
          </ac:spMkLst>
        </pc:spChg>
        <pc:spChg chg="add">
          <ac:chgData name="Moutaz Al-Huneidi" userId="ef06bd39-2c7b-4910-9028-4578ed52836d" providerId="ADAL" clId="{F0642C68-AF30-4CBF-BE63-B9B915665008}" dt="2019-06-05T15:02:02.461" v="722"/>
          <ac:spMkLst>
            <pc:docMk/>
            <pc:sldMk cId="424387413" sldId="258"/>
            <ac:spMk id="184" creationId="{FBEEA396-FEBE-469E-849A-A43FC18D3A49}"/>
          </ac:spMkLst>
        </pc:spChg>
        <pc:spChg chg="mod">
          <ac:chgData name="Moutaz Al-Huneidi" userId="ef06bd39-2c7b-4910-9028-4578ed52836d" providerId="ADAL" clId="{F0642C68-AF30-4CBF-BE63-B9B915665008}" dt="2019-06-06T14:17:47.522" v="1310" actId="2711"/>
          <ac:spMkLst>
            <pc:docMk/>
            <pc:sldMk cId="424387413" sldId="258"/>
            <ac:spMk id="186" creationId="{9A00106E-3E62-44C9-97E8-46ACDABA4B76}"/>
          </ac:spMkLst>
        </pc:spChg>
        <pc:grpChg chg="add del mod">
          <ac:chgData name="Moutaz Al-Huneidi" userId="ef06bd39-2c7b-4910-9028-4578ed52836d" providerId="ADAL" clId="{F0642C68-AF30-4CBF-BE63-B9B915665008}" dt="2019-06-05T14:38:46.606" v="705" actId="478"/>
          <ac:grpSpMkLst>
            <pc:docMk/>
            <pc:sldMk cId="424387413" sldId="258"/>
            <ac:grpSpMk id="4" creationId="{29B9D4BB-CCFA-42FD-9C61-2023AA92EEB9}"/>
          </ac:grpSpMkLst>
        </pc:grpChg>
        <pc:grpChg chg="del mod">
          <ac:chgData name="Moutaz Al-Huneidi" userId="ef06bd39-2c7b-4910-9028-4578ed52836d" providerId="ADAL" clId="{F0642C68-AF30-4CBF-BE63-B9B915665008}" dt="2019-06-06T02:42:06.385" v="1018" actId="478"/>
          <ac:grpSpMkLst>
            <pc:docMk/>
            <pc:sldMk cId="424387413" sldId="258"/>
            <ac:grpSpMk id="11" creationId="{485F8677-013B-4F49-9A65-01710F92DA33}"/>
          </ac:grpSpMkLst>
        </pc:grpChg>
        <pc:grpChg chg="del">
          <ac:chgData name="Moutaz Al-Huneidi" userId="ef06bd39-2c7b-4910-9028-4578ed52836d" providerId="ADAL" clId="{F0642C68-AF30-4CBF-BE63-B9B915665008}" dt="2019-06-06T02:42:02.381" v="1017" actId="478"/>
          <ac:grpSpMkLst>
            <pc:docMk/>
            <pc:sldMk cId="424387413" sldId="258"/>
            <ac:grpSpMk id="27" creationId="{8D0D7D1B-0BFA-A248-9818-8A7783EF2ABA}"/>
          </ac:grpSpMkLst>
        </pc:grpChg>
        <pc:grpChg chg="add del">
          <ac:chgData name="Moutaz Al-Huneidi" userId="ef06bd39-2c7b-4910-9028-4578ed52836d" providerId="ADAL" clId="{F0642C68-AF30-4CBF-BE63-B9B915665008}" dt="2019-06-05T15:01:50.464" v="721"/>
          <ac:grpSpMkLst>
            <pc:docMk/>
            <pc:sldMk cId="424387413" sldId="258"/>
            <ac:grpSpMk id="102" creationId="{EFE42C96-2872-45E1-86B4-A6F2B55EBBD0}"/>
          </ac:grpSpMkLst>
        </pc:grpChg>
        <pc:grpChg chg="add">
          <ac:chgData name="Moutaz Al-Huneidi" userId="ef06bd39-2c7b-4910-9028-4578ed52836d" providerId="ADAL" clId="{F0642C68-AF30-4CBF-BE63-B9B915665008}" dt="2019-06-05T15:02:02.461" v="722"/>
          <ac:grpSpMkLst>
            <pc:docMk/>
            <pc:sldMk cId="424387413" sldId="258"/>
            <ac:grpSpMk id="185" creationId="{CB0275DE-3A01-4500-83A2-B865240087BB}"/>
          </ac:grpSpMkLst>
        </pc:grpChg>
        <pc:graphicFrameChg chg="del mod">
          <ac:chgData name="Moutaz Al-Huneidi" userId="ef06bd39-2c7b-4910-9028-4578ed52836d" providerId="ADAL" clId="{F0642C68-AF30-4CBF-BE63-B9B915665008}" dt="2019-06-05T15:01:21.647" v="718" actId="478"/>
          <ac:graphicFrameMkLst>
            <pc:docMk/>
            <pc:sldMk cId="424387413" sldId="258"/>
            <ac:graphicFrameMk id="8" creationId="{9569C3D6-AD43-EC44-A5F4-BB3C74FC21B4}"/>
          </ac:graphicFrameMkLst>
        </pc:graphicFrameChg>
        <pc:graphicFrameChg chg="del mod topLvl">
          <ac:chgData name="Moutaz Al-Huneidi" userId="ef06bd39-2c7b-4910-9028-4578ed52836d" providerId="ADAL" clId="{F0642C68-AF30-4CBF-BE63-B9B915665008}" dt="2019-06-05T15:01:27.705" v="719" actId="478"/>
          <ac:graphicFrameMkLst>
            <pc:docMk/>
            <pc:sldMk cId="424387413" sldId="258"/>
            <ac:graphicFrameMk id="28" creationId="{BEBD6F70-B78B-1C4C-BF52-EAD626E8B402}"/>
          </ac:graphicFrameMkLst>
        </pc:graphicFrameChg>
        <pc:graphicFrameChg chg="add del">
          <ac:chgData name="Moutaz Al-Huneidi" userId="ef06bd39-2c7b-4910-9028-4578ed52836d" providerId="ADAL" clId="{F0642C68-AF30-4CBF-BE63-B9B915665008}" dt="2019-06-05T15:01:50.464" v="721"/>
          <ac:graphicFrameMkLst>
            <pc:docMk/>
            <pc:sldMk cId="424387413" sldId="258"/>
            <ac:graphicFrameMk id="58" creationId="{8C06FCFA-32EA-49C0-9AA3-9FC6E5DAAFFF}"/>
          </ac:graphicFrameMkLst>
        </pc:graphicFrameChg>
        <pc:graphicFrameChg chg="add">
          <ac:chgData name="Moutaz Al-Huneidi" userId="ef06bd39-2c7b-4910-9028-4578ed52836d" providerId="ADAL" clId="{F0642C68-AF30-4CBF-BE63-B9B915665008}" dt="2019-06-05T15:02:02.461" v="722"/>
          <ac:graphicFrameMkLst>
            <pc:docMk/>
            <pc:sldMk cId="424387413" sldId="258"/>
            <ac:graphicFrameMk id="112" creationId="{429AA712-79DA-4AC4-A5AB-81AF4576FED1}"/>
          </ac:graphicFrameMkLst>
        </pc:graphicFrameChg>
        <pc:graphicFrameChg chg="add">
          <ac:chgData name="Moutaz Al-Huneidi" userId="ef06bd39-2c7b-4910-9028-4578ed52836d" providerId="ADAL" clId="{F0642C68-AF30-4CBF-BE63-B9B915665008}" dt="2019-06-05T15:02:02.461" v="722"/>
          <ac:graphicFrameMkLst>
            <pc:docMk/>
            <pc:sldMk cId="424387413" sldId="258"/>
            <ac:graphicFrameMk id="141" creationId="{3B0CBF4D-8F66-4E92-B1DE-4654FD0E3B02}"/>
          </ac:graphicFrameMkLst>
        </pc:graphicFrameChg>
        <pc:picChg chg="mod">
          <ac:chgData name="Moutaz Al-Huneidi" userId="ef06bd39-2c7b-4910-9028-4578ed52836d" providerId="ADAL" clId="{F0642C68-AF30-4CBF-BE63-B9B915665008}" dt="2019-06-05T14:25:18.266" v="608" actId="1076"/>
          <ac:picMkLst>
            <pc:docMk/>
            <pc:sldMk cId="424387413" sldId="258"/>
            <ac:picMk id="22" creationId="{16A69E4B-8C9E-5546-BD7C-12F9B4DB0D52}"/>
          </ac:picMkLst>
        </pc:picChg>
        <pc:picChg chg="mod">
          <ac:chgData name="Moutaz Al-Huneidi" userId="ef06bd39-2c7b-4910-9028-4578ed52836d" providerId="ADAL" clId="{F0642C68-AF30-4CBF-BE63-B9B915665008}" dt="2019-06-05T14:25:20.939" v="609" actId="1076"/>
          <ac:picMkLst>
            <pc:docMk/>
            <pc:sldMk cId="424387413" sldId="258"/>
            <ac:picMk id="24" creationId="{5E0996C4-730E-1643-9553-2AFA24879E29}"/>
          </ac:picMkLst>
        </pc:picChg>
        <pc:picChg chg="del mod">
          <ac:chgData name="Moutaz Al-Huneidi" userId="ef06bd39-2c7b-4910-9028-4578ed52836d" providerId="ADAL" clId="{F0642C68-AF30-4CBF-BE63-B9B915665008}" dt="2019-06-05T14:25:10.586" v="606" actId="478"/>
          <ac:picMkLst>
            <pc:docMk/>
            <pc:sldMk cId="424387413" sldId="258"/>
            <ac:picMk id="30" creationId="{38825D6C-DBC0-9D46-AF57-A6CF4EA94BAB}"/>
          </ac:picMkLst>
        </pc:picChg>
        <pc:picChg chg="add del">
          <ac:chgData name="Moutaz Al-Huneidi" userId="ef06bd39-2c7b-4910-9028-4578ed52836d" providerId="ADAL" clId="{F0642C68-AF30-4CBF-BE63-B9B915665008}" dt="2019-06-05T15:01:50.464" v="721"/>
          <ac:picMkLst>
            <pc:docMk/>
            <pc:sldMk cId="424387413" sldId="258"/>
            <ac:picMk id="107" creationId="{6559F4BA-8BBD-4DB8-87A0-BF12DF971235}"/>
          </ac:picMkLst>
        </pc:picChg>
        <pc:picChg chg="add del">
          <ac:chgData name="Moutaz Al-Huneidi" userId="ef06bd39-2c7b-4910-9028-4578ed52836d" providerId="ADAL" clId="{F0642C68-AF30-4CBF-BE63-B9B915665008}" dt="2019-06-05T15:02:20.114" v="723" actId="478"/>
          <ac:picMkLst>
            <pc:docMk/>
            <pc:sldMk cId="424387413" sldId="258"/>
            <ac:picMk id="190" creationId="{DD3A571A-AA74-44CB-BDB7-7F133ECC3414}"/>
          </ac:picMkLst>
        </pc:picChg>
        <pc:cxnChg chg="add del">
          <ac:chgData name="Moutaz Al-Huneidi" userId="ef06bd39-2c7b-4910-9028-4578ed52836d" providerId="ADAL" clId="{F0642C68-AF30-4CBF-BE63-B9B915665008}" dt="2019-06-05T15:01:50.464" v="721"/>
          <ac:cxnSpMkLst>
            <pc:docMk/>
            <pc:sldMk cId="424387413" sldId="258"/>
            <ac:cxnSpMk id="48" creationId="{B390E5CB-4E5B-448B-A11B-07BDA5DAACBA}"/>
          </ac:cxnSpMkLst>
        </pc:cxnChg>
        <pc:cxnChg chg="add del">
          <ac:chgData name="Moutaz Al-Huneidi" userId="ef06bd39-2c7b-4910-9028-4578ed52836d" providerId="ADAL" clId="{F0642C68-AF30-4CBF-BE63-B9B915665008}" dt="2019-06-05T15:01:50.464" v="721"/>
          <ac:cxnSpMkLst>
            <pc:docMk/>
            <pc:sldMk cId="424387413" sldId="258"/>
            <ac:cxnSpMk id="49" creationId="{ACDBBBE8-494B-4243-89FB-F733402EA887}"/>
          </ac:cxnSpMkLst>
        </pc:cxnChg>
        <pc:cxnChg chg="add del">
          <ac:chgData name="Moutaz Al-Huneidi" userId="ef06bd39-2c7b-4910-9028-4578ed52836d" providerId="ADAL" clId="{F0642C68-AF30-4CBF-BE63-B9B915665008}" dt="2019-06-05T15:01:50.464" v="721"/>
          <ac:cxnSpMkLst>
            <pc:docMk/>
            <pc:sldMk cId="424387413" sldId="258"/>
            <ac:cxnSpMk id="50" creationId="{7E08F44D-A620-4758-A3EC-FC25CD90F79A}"/>
          </ac:cxnSpMkLst>
        </pc:cxnChg>
        <pc:cxnChg chg="add del">
          <ac:chgData name="Moutaz Al-Huneidi" userId="ef06bd39-2c7b-4910-9028-4578ed52836d" providerId="ADAL" clId="{F0642C68-AF30-4CBF-BE63-B9B915665008}" dt="2019-06-05T15:01:50.464" v="721"/>
          <ac:cxnSpMkLst>
            <pc:docMk/>
            <pc:sldMk cId="424387413" sldId="258"/>
            <ac:cxnSpMk id="51" creationId="{31043C1B-B3EA-46C5-A853-FDBA4F1E5280}"/>
          </ac:cxnSpMkLst>
        </pc:cxnChg>
        <pc:cxnChg chg="add del">
          <ac:chgData name="Moutaz Al-Huneidi" userId="ef06bd39-2c7b-4910-9028-4578ed52836d" providerId="ADAL" clId="{F0642C68-AF30-4CBF-BE63-B9B915665008}" dt="2019-06-05T15:01:50.464" v="721"/>
          <ac:cxnSpMkLst>
            <pc:docMk/>
            <pc:sldMk cId="424387413" sldId="258"/>
            <ac:cxnSpMk id="52" creationId="{C3C0D669-82B8-4C73-A3E7-294E0E208DB6}"/>
          </ac:cxnSpMkLst>
        </pc:cxnChg>
        <pc:cxnChg chg="add del">
          <ac:chgData name="Moutaz Al-Huneidi" userId="ef06bd39-2c7b-4910-9028-4578ed52836d" providerId="ADAL" clId="{F0642C68-AF30-4CBF-BE63-B9B915665008}" dt="2019-06-05T15:01:50.464" v="721"/>
          <ac:cxnSpMkLst>
            <pc:docMk/>
            <pc:sldMk cId="424387413" sldId="258"/>
            <ac:cxnSpMk id="53" creationId="{08502A20-2EF1-4A00-8CD0-A398164F4D9D}"/>
          </ac:cxnSpMkLst>
        </pc:cxnChg>
        <pc:cxnChg chg="add del">
          <ac:chgData name="Moutaz Al-Huneidi" userId="ef06bd39-2c7b-4910-9028-4578ed52836d" providerId="ADAL" clId="{F0642C68-AF30-4CBF-BE63-B9B915665008}" dt="2019-06-05T15:01:50.464" v="721"/>
          <ac:cxnSpMkLst>
            <pc:docMk/>
            <pc:sldMk cId="424387413" sldId="258"/>
            <ac:cxnSpMk id="54" creationId="{9D0071E2-7102-4875-B4F9-B53C13F656F6}"/>
          </ac:cxnSpMkLst>
        </pc:cxnChg>
        <pc:cxnChg chg="add del">
          <ac:chgData name="Moutaz Al-Huneidi" userId="ef06bd39-2c7b-4910-9028-4578ed52836d" providerId="ADAL" clId="{F0642C68-AF30-4CBF-BE63-B9B915665008}" dt="2019-06-05T15:01:50.464" v="721"/>
          <ac:cxnSpMkLst>
            <pc:docMk/>
            <pc:sldMk cId="424387413" sldId="258"/>
            <ac:cxnSpMk id="55" creationId="{98EEF8C4-B1FD-4C09-84EE-9294624BD867}"/>
          </ac:cxnSpMkLst>
        </pc:cxnChg>
        <pc:cxnChg chg="add del">
          <ac:chgData name="Moutaz Al-Huneidi" userId="ef06bd39-2c7b-4910-9028-4578ed52836d" providerId="ADAL" clId="{F0642C68-AF30-4CBF-BE63-B9B915665008}" dt="2019-06-05T15:01:50.464" v="721"/>
          <ac:cxnSpMkLst>
            <pc:docMk/>
            <pc:sldMk cId="424387413" sldId="258"/>
            <ac:cxnSpMk id="56" creationId="{CB8BEA4D-01F3-4093-8473-8C348DD86B71}"/>
          </ac:cxnSpMkLst>
        </pc:cxnChg>
        <pc:cxnChg chg="add del">
          <ac:chgData name="Moutaz Al-Huneidi" userId="ef06bd39-2c7b-4910-9028-4578ed52836d" providerId="ADAL" clId="{F0642C68-AF30-4CBF-BE63-B9B915665008}" dt="2019-06-05T15:01:50.464" v="721"/>
          <ac:cxnSpMkLst>
            <pc:docMk/>
            <pc:sldMk cId="424387413" sldId="258"/>
            <ac:cxnSpMk id="57" creationId="{299FF587-CA32-45BA-BC56-ED282E8185E0}"/>
          </ac:cxnSpMkLst>
        </pc:cxnChg>
        <pc:cxnChg chg="add del">
          <ac:chgData name="Moutaz Al-Huneidi" userId="ef06bd39-2c7b-4910-9028-4578ed52836d" providerId="ADAL" clId="{F0642C68-AF30-4CBF-BE63-B9B915665008}" dt="2019-06-05T15:01:50.464" v="721"/>
          <ac:cxnSpMkLst>
            <pc:docMk/>
            <pc:sldMk cId="424387413" sldId="258"/>
            <ac:cxnSpMk id="96" creationId="{391C675B-94AD-4B68-AE4B-EDE2C5D99024}"/>
          </ac:cxnSpMkLst>
        </pc:cxnChg>
        <pc:cxnChg chg="add del">
          <ac:chgData name="Moutaz Al-Huneidi" userId="ef06bd39-2c7b-4910-9028-4578ed52836d" providerId="ADAL" clId="{F0642C68-AF30-4CBF-BE63-B9B915665008}" dt="2019-06-05T15:01:50.464" v="721"/>
          <ac:cxnSpMkLst>
            <pc:docMk/>
            <pc:sldMk cId="424387413" sldId="258"/>
            <ac:cxnSpMk id="97" creationId="{06202B7C-4CF7-4EB0-A33E-7A3905702DF3}"/>
          </ac:cxnSpMkLst>
        </pc:cxnChg>
        <pc:cxnChg chg="add del">
          <ac:chgData name="Moutaz Al-Huneidi" userId="ef06bd39-2c7b-4910-9028-4578ed52836d" providerId="ADAL" clId="{F0642C68-AF30-4CBF-BE63-B9B915665008}" dt="2019-06-05T15:01:50.464" v="721"/>
          <ac:cxnSpMkLst>
            <pc:docMk/>
            <pc:sldMk cId="424387413" sldId="258"/>
            <ac:cxnSpMk id="106" creationId="{84A82194-989C-4179-8F95-8A2ADD70D7E8}"/>
          </ac:cxnSpMkLst>
        </pc:cxnChg>
        <pc:cxnChg chg="add">
          <ac:chgData name="Moutaz Al-Huneidi" userId="ef06bd39-2c7b-4910-9028-4578ed52836d" providerId="ADAL" clId="{F0642C68-AF30-4CBF-BE63-B9B915665008}" dt="2019-06-05T15:02:02.461" v="722"/>
          <ac:cxnSpMkLst>
            <pc:docMk/>
            <pc:sldMk cId="424387413" sldId="258"/>
            <ac:cxnSpMk id="108" creationId="{E20583DB-B426-4EE8-91FA-3D63F0D5756F}"/>
          </ac:cxnSpMkLst>
        </pc:cxnChg>
        <pc:cxnChg chg="add">
          <ac:chgData name="Moutaz Al-Huneidi" userId="ef06bd39-2c7b-4910-9028-4578ed52836d" providerId="ADAL" clId="{F0642C68-AF30-4CBF-BE63-B9B915665008}" dt="2019-06-05T15:02:02.461" v="722"/>
          <ac:cxnSpMkLst>
            <pc:docMk/>
            <pc:sldMk cId="424387413" sldId="258"/>
            <ac:cxnSpMk id="109" creationId="{4C8FB791-95D6-45BF-870C-5A02DC4FAF4B}"/>
          </ac:cxnSpMkLst>
        </pc:cxnChg>
        <pc:cxnChg chg="add">
          <ac:chgData name="Moutaz Al-Huneidi" userId="ef06bd39-2c7b-4910-9028-4578ed52836d" providerId="ADAL" clId="{F0642C68-AF30-4CBF-BE63-B9B915665008}" dt="2019-06-05T15:02:02.461" v="722"/>
          <ac:cxnSpMkLst>
            <pc:docMk/>
            <pc:sldMk cId="424387413" sldId="258"/>
            <ac:cxnSpMk id="110" creationId="{6F0C2E92-56E7-4F69-A081-6F5CB2F66764}"/>
          </ac:cxnSpMkLst>
        </pc:cxnChg>
        <pc:cxnChg chg="add">
          <ac:chgData name="Moutaz Al-Huneidi" userId="ef06bd39-2c7b-4910-9028-4578ed52836d" providerId="ADAL" clId="{F0642C68-AF30-4CBF-BE63-B9B915665008}" dt="2019-06-05T15:02:02.461" v="722"/>
          <ac:cxnSpMkLst>
            <pc:docMk/>
            <pc:sldMk cId="424387413" sldId="258"/>
            <ac:cxnSpMk id="111" creationId="{773B54C9-B441-4143-899F-55B7F1AA9893}"/>
          </ac:cxnSpMkLst>
        </pc:cxnChg>
        <pc:cxnChg chg="add">
          <ac:chgData name="Moutaz Al-Huneidi" userId="ef06bd39-2c7b-4910-9028-4578ed52836d" providerId="ADAL" clId="{F0642C68-AF30-4CBF-BE63-B9B915665008}" dt="2019-06-05T15:02:02.461" v="722"/>
          <ac:cxnSpMkLst>
            <pc:docMk/>
            <pc:sldMk cId="424387413" sldId="258"/>
            <ac:cxnSpMk id="131" creationId="{DE5BFFE3-3B4F-48DA-9E99-995D5A956A1E}"/>
          </ac:cxnSpMkLst>
        </pc:cxnChg>
        <pc:cxnChg chg="add">
          <ac:chgData name="Moutaz Al-Huneidi" userId="ef06bd39-2c7b-4910-9028-4578ed52836d" providerId="ADAL" clId="{F0642C68-AF30-4CBF-BE63-B9B915665008}" dt="2019-06-05T15:02:02.461" v="722"/>
          <ac:cxnSpMkLst>
            <pc:docMk/>
            <pc:sldMk cId="424387413" sldId="258"/>
            <ac:cxnSpMk id="132" creationId="{93738E30-1CDF-4F3E-AB70-63578576B623}"/>
          </ac:cxnSpMkLst>
        </pc:cxnChg>
        <pc:cxnChg chg="add">
          <ac:chgData name="Moutaz Al-Huneidi" userId="ef06bd39-2c7b-4910-9028-4578ed52836d" providerId="ADAL" clId="{F0642C68-AF30-4CBF-BE63-B9B915665008}" dt="2019-06-05T15:02:02.461" v="722"/>
          <ac:cxnSpMkLst>
            <pc:docMk/>
            <pc:sldMk cId="424387413" sldId="258"/>
            <ac:cxnSpMk id="133" creationId="{842D9683-56C5-4A83-848E-A8E2FC000E05}"/>
          </ac:cxnSpMkLst>
        </pc:cxnChg>
        <pc:cxnChg chg="add">
          <ac:chgData name="Moutaz Al-Huneidi" userId="ef06bd39-2c7b-4910-9028-4578ed52836d" providerId="ADAL" clId="{F0642C68-AF30-4CBF-BE63-B9B915665008}" dt="2019-06-05T15:02:02.461" v="722"/>
          <ac:cxnSpMkLst>
            <pc:docMk/>
            <pc:sldMk cId="424387413" sldId="258"/>
            <ac:cxnSpMk id="134" creationId="{74FEF968-E3E4-46C2-AE57-FAEA7C00F977}"/>
          </ac:cxnSpMkLst>
        </pc:cxnChg>
        <pc:cxnChg chg="add">
          <ac:chgData name="Moutaz Al-Huneidi" userId="ef06bd39-2c7b-4910-9028-4578ed52836d" providerId="ADAL" clId="{F0642C68-AF30-4CBF-BE63-B9B915665008}" dt="2019-06-05T15:02:02.461" v="722"/>
          <ac:cxnSpMkLst>
            <pc:docMk/>
            <pc:sldMk cId="424387413" sldId="258"/>
            <ac:cxnSpMk id="135" creationId="{73C2E722-FA42-465A-AA2A-037A12BF1E89}"/>
          </ac:cxnSpMkLst>
        </pc:cxnChg>
        <pc:cxnChg chg="add">
          <ac:chgData name="Moutaz Al-Huneidi" userId="ef06bd39-2c7b-4910-9028-4578ed52836d" providerId="ADAL" clId="{F0642C68-AF30-4CBF-BE63-B9B915665008}" dt="2019-06-05T15:02:02.461" v="722"/>
          <ac:cxnSpMkLst>
            <pc:docMk/>
            <pc:sldMk cId="424387413" sldId="258"/>
            <ac:cxnSpMk id="136" creationId="{1E4E9064-471D-4130-BE02-C692A82F22B8}"/>
          </ac:cxnSpMkLst>
        </pc:cxnChg>
        <pc:cxnChg chg="add">
          <ac:chgData name="Moutaz Al-Huneidi" userId="ef06bd39-2c7b-4910-9028-4578ed52836d" providerId="ADAL" clId="{F0642C68-AF30-4CBF-BE63-B9B915665008}" dt="2019-06-05T15:02:02.461" v="722"/>
          <ac:cxnSpMkLst>
            <pc:docMk/>
            <pc:sldMk cId="424387413" sldId="258"/>
            <ac:cxnSpMk id="137" creationId="{8DE484D5-B1BF-45BF-85A8-CE80AB3D9901}"/>
          </ac:cxnSpMkLst>
        </pc:cxnChg>
        <pc:cxnChg chg="add">
          <ac:chgData name="Moutaz Al-Huneidi" userId="ef06bd39-2c7b-4910-9028-4578ed52836d" providerId="ADAL" clId="{F0642C68-AF30-4CBF-BE63-B9B915665008}" dt="2019-06-05T15:02:02.461" v="722"/>
          <ac:cxnSpMkLst>
            <pc:docMk/>
            <pc:sldMk cId="424387413" sldId="258"/>
            <ac:cxnSpMk id="138" creationId="{8390C8D7-DD4D-4197-B511-195D8A95E552}"/>
          </ac:cxnSpMkLst>
        </pc:cxnChg>
        <pc:cxnChg chg="add">
          <ac:chgData name="Moutaz Al-Huneidi" userId="ef06bd39-2c7b-4910-9028-4578ed52836d" providerId="ADAL" clId="{F0642C68-AF30-4CBF-BE63-B9B915665008}" dt="2019-06-05T15:02:02.461" v="722"/>
          <ac:cxnSpMkLst>
            <pc:docMk/>
            <pc:sldMk cId="424387413" sldId="258"/>
            <ac:cxnSpMk id="139" creationId="{44596599-0974-4080-A9A1-97396869139B}"/>
          </ac:cxnSpMkLst>
        </pc:cxnChg>
        <pc:cxnChg chg="add">
          <ac:chgData name="Moutaz Al-Huneidi" userId="ef06bd39-2c7b-4910-9028-4578ed52836d" providerId="ADAL" clId="{F0642C68-AF30-4CBF-BE63-B9B915665008}" dt="2019-06-05T15:02:02.461" v="722"/>
          <ac:cxnSpMkLst>
            <pc:docMk/>
            <pc:sldMk cId="424387413" sldId="258"/>
            <ac:cxnSpMk id="140" creationId="{C08E8A57-2093-4FB9-98BD-306409E835A7}"/>
          </ac:cxnSpMkLst>
        </pc:cxnChg>
        <pc:cxnChg chg="add">
          <ac:chgData name="Moutaz Al-Huneidi" userId="ef06bd39-2c7b-4910-9028-4578ed52836d" providerId="ADAL" clId="{F0642C68-AF30-4CBF-BE63-B9B915665008}" dt="2019-06-05T15:02:02.461" v="722"/>
          <ac:cxnSpMkLst>
            <pc:docMk/>
            <pc:sldMk cId="424387413" sldId="258"/>
            <ac:cxnSpMk id="179" creationId="{59844477-DDCA-46CC-889E-1707BAD49B3F}"/>
          </ac:cxnSpMkLst>
        </pc:cxnChg>
        <pc:cxnChg chg="add">
          <ac:chgData name="Moutaz Al-Huneidi" userId="ef06bd39-2c7b-4910-9028-4578ed52836d" providerId="ADAL" clId="{F0642C68-AF30-4CBF-BE63-B9B915665008}" dt="2019-06-05T15:02:02.461" v="722"/>
          <ac:cxnSpMkLst>
            <pc:docMk/>
            <pc:sldMk cId="424387413" sldId="258"/>
            <ac:cxnSpMk id="180" creationId="{F60206BF-A976-4A2A-B1C6-E234B605BF7A}"/>
          </ac:cxnSpMkLst>
        </pc:cxnChg>
        <pc:cxnChg chg="add">
          <ac:chgData name="Moutaz Al-Huneidi" userId="ef06bd39-2c7b-4910-9028-4578ed52836d" providerId="ADAL" clId="{F0642C68-AF30-4CBF-BE63-B9B915665008}" dt="2019-06-05T15:02:02.461" v="722"/>
          <ac:cxnSpMkLst>
            <pc:docMk/>
            <pc:sldMk cId="424387413" sldId="258"/>
            <ac:cxnSpMk id="189" creationId="{20F3CA8D-9B60-42B5-AFE6-90AFACEF19FB}"/>
          </ac:cxnSpMkLst>
        </pc:cxnChg>
      </pc:sldChg>
      <pc:sldChg chg="modSp del modTransition">
        <pc:chgData name="Moutaz Al-Huneidi" userId="ef06bd39-2c7b-4910-9028-4578ed52836d" providerId="ADAL" clId="{F0642C68-AF30-4CBF-BE63-B9B915665008}" dt="2019-06-06T15:47:20.195" v="2178" actId="2696"/>
        <pc:sldMkLst>
          <pc:docMk/>
          <pc:sldMk cId="1556233465" sldId="260"/>
        </pc:sldMkLst>
        <pc:spChg chg="mod">
          <ac:chgData name="Moutaz Al-Huneidi" userId="ef06bd39-2c7b-4910-9028-4578ed52836d" providerId="ADAL" clId="{F0642C68-AF30-4CBF-BE63-B9B915665008}" dt="2019-06-05T15:16:55.229" v="855" actId="1076"/>
          <ac:spMkLst>
            <pc:docMk/>
            <pc:sldMk cId="1556233465" sldId="260"/>
            <ac:spMk id="25" creationId="{DDB86BAA-55BD-6B46-A6BB-45208D3D7B7D}"/>
          </ac:spMkLst>
        </pc:spChg>
      </pc:sldChg>
      <pc:sldChg chg="modSp del">
        <pc:chgData name="Moutaz Al-Huneidi" userId="ef06bd39-2c7b-4910-9028-4578ed52836d" providerId="ADAL" clId="{F0642C68-AF30-4CBF-BE63-B9B915665008}" dt="2019-06-06T15:47:23.529" v="2180" actId="2696"/>
        <pc:sldMkLst>
          <pc:docMk/>
          <pc:sldMk cId="2566066036" sldId="262"/>
        </pc:sldMkLst>
        <pc:spChg chg="mod">
          <ac:chgData name="Moutaz Al-Huneidi" userId="ef06bd39-2c7b-4910-9028-4578ed52836d" providerId="ADAL" clId="{F0642C68-AF30-4CBF-BE63-B9B915665008}" dt="2019-06-05T13:31:38.396" v="73" actId="27636"/>
          <ac:spMkLst>
            <pc:docMk/>
            <pc:sldMk cId="2566066036" sldId="262"/>
            <ac:spMk id="21" creationId="{4E7210FB-DC92-8F4B-AF69-2BE8587136DA}"/>
          </ac:spMkLst>
        </pc:spChg>
      </pc:sldChg>
      <pc:sldChg chg="del">
        <pc:chgData name="Moutaz Al-Huneidi" userId="ef06bd39-2c7b-4910-9028-4578ed52836d" providerId="ADAL" clId="{F0642C68-AF30-4CBF-BE63-B9B915665008}" dt="2019-06-06T15:47:24.783" v="2181" actId="2696"/>
        <pc:sldMkLst>
          <pc:docMk/>
          <pc:sldMk cId="1940438154" sldId="263"/>
        </pc:sldMkLst>
      </pc:sldChg>
      <pc:sldChg chg="addSp delSp modSp ord">
        <pc:chgData name="Moutaz Al-Huneidi" userId="ef06bd39-2c7b-4910-9028-4578ed52836d" providerId="ADAL" clId="{F0642C68-AF30-4CBF-BE63-B9B915665008}" dt="2019-06-06T17:58:11.724" v="3028" actId="1037"/>
        <pc:sldMkLst>
          <pc:docMk/>
          <pc:sldMk cId="1110250214" sldId="265"/>
        </pc:sldMkLst>
        <pc:spChg chg="add del mod">
          <ac:chgData name="Moutaz Al-Huneidi" userId="ef06bd39-2c7b-4910-9028-4578ed52836d" providerId="ADAL" clId="{F0642C68-AF30-4CBF-BE63-B9B915665008}" dt="2019-06-06T14:12:45.470" v="1244" actId="478"/>
          <ac:spMkLst>
            <pc:docMk/>
            <pc:sldMk cId="1110250214" sldId="265"/>
            <ac:spMk id="2" creationId="{C2177AD9-FEE0-8B49-8666-CB6884C990AA}"/>
          </ac:spMkLst>
        </pc:spChg>
        <pc:spChg chg="mod">
          <ac:chgData name="Moutaz Al-Huneidi" userId="ef06bd39-2c7b-4910-9028-4578ed52836d" providerId="ADAL" clId="{F0642C68-AF30-4CBF-BE63-B9B915665008}" dt="2019-06-06T14:19:11.259" v="1317" actId="2711"/>
          <ac:spMkLst>
            <pc:docMk/>
            <pc:sldMk cId="1110250214" sldId="265"/>
            <ac:spMk id="6" creationId="{4C7A1C8E-ABAD-3C4C-A3A3-61CB1A2B85B0}"/>
          </ac:spMkLst>
        </pc:spChg>
        <pc:spChg chg="mod">
          <ac:chgData name="Moutaz Al-Huneidi" userId="ef06bd39-2c7b-4910-9028-4578ed52836d" providerId="ADAL" clId="{F0642C68-AF30-4CBF-BE63-B9B915665008}" dt="2019-06-06T14:24:18.117" v="1340" actId="20577"/>
          <ac:spMkLst>
            <pc:docMk/>
            <pc:sldMk cId="1110250214" sldId="265"/>
            <ac:spMk id="23" creationId="{EC8567F1-9BC5-6B42-B3AD-AAE820675CD6}"/>
          </ac:spMkLst>
        </pc:spChg>
        <pc:spChg chg="mod">
          <ac:chgData name="Moutaz Al-Huneidi" userId="ef06bd39-2c7b-4910-9028-4578ed52836d" providerId="ADAL" clId="{F0642C68-AF30-4CBF-BE63-B9B915665008}" dt="2019-06-06T17:57:54.110" v="2964" actId="20577"/>
          <ac:spMkLst>
            <pc:docMk/>
            <pc:sldMk cId="1110250214" sldId="265"/>
            <ac:spMk id="25" creationId="{7D5D3551-6733-E44F-9701-582BF660EC3C}"/>
          </ac:spMkLst>
        </pc:spChg>
        <pc:spChg chg="add mod">
          <ac:chgData name="Moutaz Al-Huneidi" userId="ef06bd39-2c7b-4910-9028-4578ed52836d" providerId="ADAL" clId="{F0642C68-AF30-4CBF-BE63-B9B915665008}" dt="2019-06-06T14:18:57.598" v="1314" actId="255"/>
          <ac:spMkLst>
            <pc:docMk/>
            <pc:sldMk cId="1110250214" sldId="265"/>
            <ac:spMk id="27" creationId="{36BCDE0A-0B33-4A02-BFD1-55B71F6B6CE6}"/>
          </ac:spMkLst>
        </pc:spChg>
        <pc:spChg chg="mod">
          <ac:chgData name="Moutaz Al-Huneidi" userId="ef06bd39-2c7b-4910-9028-4578ed52836d" providerId="ADAL" clId="{F0642C68-AF30-4CBF-BE63-B9B915665008}" dt="2019-06-06T17:58:11.724" v="3028" actId="1037"/>
          <ac:spMkLst>
            <pc:docMk/>
            <pc:sldMk cId="1110250214" sldId="265"/>
            <ac:spMk id="31" creationId="{3C7954C9-3EB2-D440-86B6-9183B4AA34ED}"/>
          </ac:spMkLst>
        </pc:spChg>
        <pc:grpChg chg="mod">
          <ac:chgData name="Moutaz Al-Huneidi" userId="ef06bd39-2c7b-4910-9028-4578ed52836d" providerId="ADAL" clId="{F0642C68-AF30-4CBF-BE63-B9B915665008}" dt="2019-06-06T17:58:11.724" v="3028" actId="1037"/>
          <ac:grpSpMkLst>
            <pc:docMk/>
            <pc:sldMk cId="1110250214" sldId="265"/>
            <ac:grpSpMk id="8" creationId="{CBC3F1BC-0F89-1146-828B-B448BC85FFF9}"/>
          </ac:grpSpMkLst>
        </pc:grpChg>
        <pc:grpChg chg="del">
          <ac:chgData name="Moutaz Al-Huneidi" userId="ef06bd39-2c7b-4910-9028-4578ed52836d" providerId="ADAL" clId="{F0642C68-AF30-4CBF-BE63-B9B915665008}" dt="2019-06-06T14:23:12.824" v="1331" actId="478"/>
          <ac:grpSpMkLst>
            <pc:docMk/>
            <pc:sldMk cId="1110250214" sldId="265"/>
            <ac:grpSpMk id="11" creationId="{485F8677-013B-4F49-9A65-01710F92DA33}"/>
          </ac:grpSpMkLst>
        </pc:grpChg>
        <pc:picChg chg="mod">
          <ac:chgData name="Moutaz Al-Huneidi" userId="ef06bd39-2c7b-4910-9028-4578ed52836d" providerId="ADAL" clId="{F0642C68-AF30-4CBF-BE63-B9B915665008}" dt="2019-06-06T17:58:11.724" v="3028" actId="1037"/>
          <ac:picMkLst>
            <pc:docMk/>
            <pc:sldMk cId="1110250214" sldId="265"/>
            <ac:picMk id="26" creationId="{F748B3D4-FD2F-0742-9BF2-B6F69BE5B815}"/>
          </ac:picMkLst>
        </pc:picChg>
        <pc:picChg chg="mod">
          <ac:chgData name="Moutaz Al-Huneidi" userId="ef06bd39-2c7b-4910-9028-4578ed52836d" providerId="ADAL" clId="{F0642C68-AF30-4CBF-BE63-B9B915665008}" dt="2019-06-06T17:58:11.724" v="3028" actId="1037"/>
          <ac:picMkLst>
            <pc:docMk/>
            <pc:sldMk cId="1110250214" sldId="265"/>
            <ac:picMk id="28" creationId="{BCEC1143-95AF-A44E-AB8B-C7810F435AED}"/>
          </ac:picMkLst>
        </pc:picChg>
        <pc:picChg chg="mod">
          <ac:chgData name="Moutaz Al-Huneidi" userId="ef06bd39-2c7b-4910-9028-4578ed52836d" providerId="ADAL" clId="{F0642C68-AF30-4CBF-BE63-B9B915665008}" dt="2019-06-06T17:58:11.724" v="3028" actId="1037"/>
          <ac:picMkLst>
            <pc:docMk/>
            <pc:sldMk cId="1110250214" sldId="265"/>
            <ac:picMk id="30" creationId="{CAFEDEC4-EBD0-8C42-8B48-44E3134E895D}"/>
          </ac:picMkLst>
        </pc:picChg>
        <pc:picChg chg="mod">
          <ac:chgData name="Moutaz Al-Huneidi" userId="ef06bd39-2c7b-4910-9028-4578ed52836d" providerId="ADAL" clId="{F0642C68-AF30-4CBF-BE63-B9B915665008}" dt="2019-06-06T17:58:11.724" v="3028" actId="1037"/>
          <ac:picMkLst>
            <pc:docMk/>
            <pc:sldMk cId="1110250214" sldId="265"/>
            <ac:picMk id="33" creationId="{6EB224F6-3666-4F4F-874F-61A079326F21}"/>
          </ac:picMkLst>
        </pc:picChg>
        <pc:cxnChg chg="del">
          <ac:chgData name="Moutaz Al-Huneidi" userId="ef06bd39-2c7b-4910-9028-4578ed52836d" providerId="ADAL" clId="{F0642C68-AF30-4CBF-BE63-B9B915665008}" dt="2019-06-06T14:12:28.558" v="1239" actId="478"/>
          <ac:cxnSpMkLst>
            <pc:docMk/>
            <pc:sldMk cId="1110250214" sldId="265"/>
            <ac:cxnSpMk id="4" creationId="{E793BC4C-653E-C040-9236-E8D365159FE3}"/>
          </ac:cxnSpMkLst>
        </pc:cxnChg>
        <pc:cxnChg chg="del">
          <ac:chgData name="Moutaz Al-Huneidi" userId="ef06bd39-2c7b-4910-9028-4578ed52836d" providerId="ADAL" clId="{F0642C68-AF30-4CBF-BE63-B9B915665008}" dt="2019-06-06T14:12:19.451" v="1237" actId="478"/>
          <ac:cxnSpMkLst>
            <pc:docMk/>
            <pc:sldMk cId="1110250214" sldId="265"/>
            <ac:cxnSpMk id="5" creationId="{6161193C-C5B0-E44D-8724-14C55580C40C}"/>
          </ac:cxnSpMkLst>
        </pc:cxnChg>
        <pc:cxnChg chg="del">
          <ac:chgData name="Moutaz Al-Huneidi" userId="ef06bd39-2c7b-4910-9028-4578ed52836d" providerId="ADAL" clId="{F0642C68-AF30-4CBF-BE63-B9B915665008}" dt="2019-06-06T14:12:22.990" v="1238" actId="478"/>
          <ac:cxnSpMkLst>
            <pc:docMk/>
            <pc:sldMk cId="1110250214" sldId="265"/>
            <ac:cxnSpMk id="19" creationId="{6CE86334-6284-8F48-BE67-6A69A58F9E4E}"/>
          </ac:cxnSpMkLst>
        </pc:cxnChg>
        <pc:cxnChg chg="del">
          <ac:chgData name="Moutaz Al-Huneidi" userId="ef06bd39-2c7b-4910-9028-4578ed52836d" providerId="ADAL" clId="{F0642C68-AF30-4CBF-BE63-B9B915665008}" dt="2019-06-06T17:57:49.649" v="2955" actId="478"/>
          <ac:cxnSpMkLst>
            <pc:docMk/>
            <pc:sldMk cId="1110250214" sldId="265"/>
            <ac:cxnSpMk id="24" creationId="{678E8EAC-A0BE-9744-8ABE-527CBB0FA123}"/>
          </ac:cxnSpMkLst>
        </pc:cxnChg>
      </pc:sldChg>
      <pc:sldChg chg="addSp delSp modSp ord modAnim">
        <pc:chgData name="Moutaz Al-Huneidi" userId="ef06bd39-2c7b-4910-9028-4578ed52836d" providerId="ADAL" clId="{F0642C68-AF30-4CBF-BE63-B9B915665008}" dt="2019-06-06T17:45:24.330" v="2810"/>
        <pc:sldMkLst>
          <pc:docMk/>
          <pc:sldMk cId="752216926" sldId="266"/>
        </pc:sldMkLst>
        <pc:spChg chg="mod">
          <ac:chgData name="Moutaz Al-Huneidi" userId="ef06bd39-2c7b-4910-9028-4578ed52836d" providerId="ADAL" clId="{F0642C68-AF30-4CBF-BE63-B9B915665008}" dt="2019-06-06T14:16:46.020" v="1306" actId="1076"/>
          <ac:spMkLst>
            <pc:docMk/>
            <pc:sldMk cId="752216926" sldId="266"/>
            <ac:spMk id="6" creationId="{22AC7FD3-969C-A24A-82D4-9830D7079FA2}"/>
          </ac:spMkLst>
        </pc:spChg>
        <pc:spChg chg="del">
          <ac:chgData name="Moutaz Al-Huneidi" userId="ef06bd39-2c7b-4910-9028-4578ed52836d" providerId="ADAL" clId="{F0642C68-AF30-4CBF-BE63-B9B915665008}" dt="2019-06-05T14:09:56.888" v="571" actId="478"/>
          <ac:spMkLst>
            <pc:docMk/>
            <pc:sldMk cId="752216926" sldId="266"/>
            <ac:spMk id="20" creationId="{F2BFF0F0-A882-D14D-B633-6ED2EF0DF805}"/>
          </ac:spMkLst>
        </pc:spChg>
        <pc:spChg chg="del">
          <ac:chgData name="Moutaz Al-Huneidi" userId="ef06bd39-2c7b-4910-9028-4578ed52836d" providerId="ADAL" clId="{F0642C68-AF30-4CBF-BE63-B9B915665008}" dt="2019-06-05T13:18:43.243" v="56" actId="478"/>
          <ac:spMkLst>
            <pc:docMk/>
            <pc:sldMk cId="752216926" sldId="266"/>
            <ac:spMk id="24" creationId="{19C926E6-3816-0348-A8C5-576DDD84EF8B}"/>
          </ac:spMkLst>
        </pc:spChg>
        <pc:spChg chg="add mod">
          <ac:chgData name="Moutaz Al-Huneidi" userId="ef06bd39-2c7b-4910-9028-4578ed52836d" providerId="ADAL" clId="{F0642C68-AF30-4CBF-BE63-B9B915665008}" dt="2019-06-06T14:16:36.100" v="1304" actId="2711"/>
          <ac:spMkLst>
            <pc:docMk/>
            <pc:sldMk cId="752216926" sldId="266"/>
            <ac:spMk id="28" creationId="{1295B3DB-72BB-44C9-96F0-55524CC88D2D}"/>
          </ac:spMkLst>
        </pc:spChg>
        <pc:grpChg chg="del">
          <ac:chgData name="Moutaz Al-Huneidi" userId="ef06bd39-2c7b-4910-9028-4578ed52836d" providerId="ADAL" clId="{F0642C68-AF30-4CBF-BE63-B9B915665008}" dt="2019-06-06T02:42:15.706" v="1019" actId="478"/>
          <ac:grpSpMkLst>
            <pc:docMk/>
            <pc:sldMk cId="752216926" sldId="266"/>
            <ac:grpSpMk id="11" creationId="{485F8677-013B-4F49-9A65-01710F92DA33}"/>
          </ac:grpSpMkLst>
        </pc:grpChg>
        <pc:picChg chg="mod">
          <ac:chgData name="Moutaz Al-Huneidi" userId="ef06bd39-2c7b-4910-9028-4578ed52836d" providerId="ADAL" clId="{F0642C68-AF30-4CBF-BE63-B9B915665008}" dt="2019-06-05T15:15:04.887" v="846" actId="1036"/>
          <ac:picMkLst>
            <pc:docMk/>
            <pc:sldMk cId="752216926" sldId="266"/>
            <ac:picMk id="2" creationId="{D8984E29-31BD-46C7-A53D-B8B7332B55A6}"/>
          </ac:picMkLst>
        </pc:picChg>
        <pc:picChg chg="mod">
          <ac:chgData name="Moutaz Al-Huneidi" userId="ef06bd39-2c7b-4910-9028-4578ed52836d" providerId="ADAL" clId="{F0642C68-AF30-4CBF-BE63-B9B915665008}" dt="2019-06-05T15:15:02.378" v="839" actId="1036"/>
          <ac:picMkLst>
            <pc:docMk/>
            <pc:sldMk cId="752216926" sldId="266"/>
            <ac:picMk id="3" creationId="{FC7C203A-B1F7-1D43-A77D-E91D342926AF}"/>
          </ac:picMkLst>
        </pc:picChg>
        <pc:picChg chg="mod">
          <ac:chgData name="Moutaz Al-Huneidi" userId="ef06bd39-2c7b-4910-9028-4578ed52836d" providerId="ADAL" clId="{F0642C68-AF30-4CBF-BE63-B9B915665008}" dt="2019-06-05T15:14:36.530" v="831" actId="1036"/>
          <ac:picMkLst>
            <pc:docMk/>
            <pc:sldMk cId="752216926" sldId="266"/>
            <ac:picMk id="4" creationId="{394BF6E3-AA73-4993-9B7D-E9EF6FC65020}"/>
          </ac:picMkLst>
        </pc:picChg>
        <pc:picChg chg="mod">
          <ac:chgData name="Moutaz Al-Huneidi" userId="ef06bd39-2c7b-4910-9028-4578ed52836d" providerId="ADAL" clId="{F0642C68-AF30-4CBF-BE63-B9B915665008}" dt="2019-06-05T15:14:54.172" v="834" actId="196"/>
          <ac:picMkLst>
            <pc:docMk/>
            <pc:sldMk cId="752216926" sldId="266"/>
            <ac:picMk id="5" creationId="{6FAF4704-9CEE-480E-8C2C-16465819F33E}"/>
          </ac:picMkLst>
        </pc:picChg>
        <pc:picChg chg="mod">
          <ac:chgData name="Moutaz Al-Huneidi" userId="ef06bd39-2c7b-4910-9028-4578ed52836d" providerId="ADAL" clId="{F0642C68-AF30-4CBF-BE63-B9B915665008}" dt="2019-06-05T15:14:36.530" v="831" actId="1036"/>
          <ac:picMkLst>
            <pc:docMk/>
            <pc:sldMk cId="752216926" sldId="266"/>
            <ac:picMk id="8" creationId="{F412AFE7-3BC6-4E0D-A4BA-6DFD7FBDB45A}"/>
          </ac:picMkLst>
        </pc:picChg>
        <pc:picChg chg="mod">
          <ac:chgData name="Moutaz Al-Huneidi" userId="ef06bd39-2c7b-4910-9028-4578ed52836d" providerId="ADAL" clId="{F0642C68-AF30-4CBF-BE63-B9B915665008}" dt="2019-06-05T14:18:24.702" v="601" actId="1076"/>
          <ac:picMkLst>
            <pc:docMk/>
            <pc:sldMk cId="752216926" sldId="266"/>
            <ac:picMk id="19" creationId="{1A9EC2E3-F0C5-F443-A3FA-826A5A0FB1C3}"/>
          </ac:picMkLst>
        </pc:picChg>
        <pc:picChg chg="mod">
          <ac:chgData name="Moutaz Al-Huneidi" userId="ef06bd39-2c7b-4910-9028-4578ed52836d" providerId="ADAL" clId="{F0642C68-AF30-4CBF-BE63-B9B915665008}" dt="2019-06-05T15:14:36.530" v="831" actId="1036"/>
          <ac:picMkLst>
            <pc:docMk/>
            <pc:sldMk cId="752216926" sldId="266"/>
            <ac:picMk id="20" creationId="{2C9BCBD4-4292-4E7B-B6D6-932FF6F0B846}"/>
          </ac:picMkLst>
        </pc:picChg>
        <pc:picChg chg="mod">
          <ac:chgData name="Moutaz Al-Huneidi" userId="ef06bd39-2c7b-4910-9028-4578ed52836d" providerId="ADAL" clId="{F0642C68-AF30-4CBF-BE63-B9B915665008}" dt="2019-06-05T15:15:02.378" v="839" actId="1036"/>
          <ac:picMkLst>
            <pc:docMk/>
            <pc:sldMk cId="752216926" sldId="266"/>
            <ac:picMk id="21" creationId="{4830966F-C61D-49DB-99CD-6833EF3A00CC}"/>
          </ac:picMkLst>
        </pc:picChg>
        <pc:picChg chg="mod">
          <ac:chgData name="Moutaz Al-Huneidi" userId="ef06bd39-2c7b-4910-9028-4578ed52836d" providerId="ADAL" clId="{F0642C68-AF30-4CBF-BE63-B9B915665008}" dt="2019-06-05T15:15:02.378" v="839" actId="1036"/>
          <ac:picMkLst>
            <pc:docMk/>
            <pc:sldMk cId="752216926" sldId="266"/>
            <ac:picMk id="23" creationId="{781AB285-62D3-2248-BA36-EDF7DFEEB953}"/>
          </ac:picMkLst>
        </pc:picChg>
        <pc:picChg chg="mod">
          <ac:chgData name="Moutaz Al-Huneidi" userId="ef06bd39-2c7b-4910-9028-4578ed52836d" providerId="ADAL" clId="{F0642C68-AF30-4CBF-BE63-B9B915665008}" dt="2019-06-06T17:42:42.432" v="2777" actId="1076"/>
          <ac:picMkLst>
            <pc:docMk/>
            <pc:sldMk cId="752216926" sldId="266"/>
            <ac:picMk id="24" creationId="{8381B560-041A-433C-8D05-EB4BEA1BFE13}"/>
          </ac:picMkLst>
        </pc:picChg>
        <pc:picChg chg="mod">
          <ac:chgData name="Moutaz Al-Huneidi" userId="ef06bd39-2c7b-4910-9028-4578ed52836d" providerId="ADAL" clId="{F0642C68-AF30-4CBF-BE63-B9B915665008}" dt="2019-06-06T14:17:30.855" v="1308" actId="1076"/>
          <ac:picMkLst>
            <pc:docMk/>
            <pc:sldMk cId="752216926" sldId="266"/>
            <ac:picMk id="26" creationId="{25B77671-B21E-4957-A73A-0804600696EE}"/>
          </ac:picMkLst>
        </pc:picChg>
        <pc:picChg chg="mod">
          <ac:chgData name="Moutaz Al-Huneidi" userId="ef06bd39-2c7b-4910-9028-4578ed52836d" providerId="ADAL" clId="{F0642C68-AF30-4CBF-BE63-B9B915665008}" dt="2019-06-05T15:14:36.530" v="831" actId="1036"/>
          <ac:picMkLst>
            <pc:docMk/>
            <pc:sldMk cId="752216926" sldId="266"/>
            <ac:picMk id="27" creationId="{9C6E4873-7131-46BF-B1C0-C9B87D676E47}"/>
          </ac:picMkLst>
        </pc:picChg>
        <pc:picChg chg="mod">
          <ac:chgData name="Moutaz Al-Huneidi" userId="ef06bd39-2c7b-4910-9028-4578ed52836d" providerId="ADAL" clId="{F0642C68-AF30-4CBF-BE63-B9B915665008}" dt="2019-06-05T13:32:39.764" v="75" actId="1076"/>
          <ac:picMkLst>
            <pc:docMk/>
            <pc:sldMk cId="752216926" sldId="266"/>
            <ac:picMk id="27" creationId="{C4E74452-C92A-4946-9673-A97C9B42BD8E}"/>
          </ac:picMkLst>
        </pc:picChg>
        <pc:cxnChg chg="del">
          <ac:chgData name="Moutaz Al-Huneidi" userId="ef06bd39-2c7b-4910-9028-4578ed52836d" providerId="ADAL" clId="{F0642C68-AF30-4CBF-BE63-B9B915665008}" dt="2019-06-05T13:18:57.498" v="57" actId="478"/>
          <ac:cxnSpMkLst>
            <pc:docMk/>
            <pc:sldMk cId="752216926" sldId="266"/>
            <ac:cxnSpMk id="4" creationId="{E793BC4C-653E-C040-9236-E8D365159FE3}"/>
          </ac:cxnSpMkLst>
        </pc:cxnChg>
        <pc:cxnChg chg="add del mod">
          <ac:chgData name="Moutaz Al-Huneidi" userId="ef06bd39-2c7b-4910-9028-4578ed52836d" providerId="ADAL" clId="{F0642C68-AF30-4CBF-BE63-B9B915665008}" dt="2019-06-06T14:17:31.617" v="1309" actId="1076"/>
          <ac:cxnSpMkLst>
            <pc:docMk/>
            <pc:sldMk cId="752216926" sldId="266"/>
            <ac:cxnSpMk id="9" creationId="{E4A08416-2C8E-9249-98A9-9948F676263D}"/>
          </ac:cxnSpMkLst>
        </pc:cxnChg>
      </pc:sldChg>
      <pc:sldChg chg="del">
        <pc:chgData name="Moutaz Al-Huneidi" userId="ef06bd39-2c7b-4910-9028-4578ed52836d" providerId="ADAL" clId="{F0642C68-AF30-4CBF-BE63-B9B915665008}" dt="2019-06-06T15:47:25.858" v="2182" actId="2696"/>
        <pc:sldMkLst>
          <pc:docMk/>
          <pc:sldMk cId="4086891771" sldId="269"/>
        </pc:sldMkLst>
      </pc:sldChg>
      <pc:sldChg chg="addSp delSp modSp del setBg">
        <pc:chgData name="Moutaz Al-Huneidi" userId="ef06bd39-2c7b-4910-9028-4578ed52836d" providerId="ADAL" clId="{F0642C68-AF30-4CBF-BE63-B9B915665008}" dt="2019-06-06T15:47:22.573" v="2179" actId="2696"/>
        <pc:sldMkLst>
          <pc:docMk/>
          <pc:sldMk cId="1285085625" sldId="271"/>
        </pc:sldMkLst>
        <pc:picChg chg="mod">
          <ac:chgData name="Moutaz Al-Huneidi" userId="ef06bd39-2c7b-4910-9028-4578ed52836d" providerId="ADAL" clId="{F0642C68-AF30-4CBF-BE63-B9B915665008}" dt="2019-06-05T13:29:01.023" v="67" actId="1076"/>
          <ac:picMkLst>
            <pc:docMk/>
            <pc:sldMk cId="1285085625" sldId="271"/>
            <ac:picMk id="7" creationId="{C702FF2B-B5CC-2A4D-A7AE-4FDF52B34314}"/>
          </ac:picMkLst>
        </pc:picChg>
        <pc:cxnChg chg="add del">
          <ac:chgData name="Moutaz Al-Huneidi" userId="ef06bd39-2c7b-4910-9028-4578ed52836d" providerId="ADAL" clId="{F0642C68-AF30-4CBF-BE63-B9B915665008}" dt="2019-06-05T14:10:18.016" v="579"/>
          <ac:cxnSpMkLst>
            <pc:docMk/>
            <pc:sldMk cId="1285085625" sldId="271"/>
            <ac:cxnSpMk id="19" creationId="{FC663EFC-29F7-47F7-B624-75827AC66827}"/>
          </ac:cxnSpMkLst>
        </pc:cxnChg>
      </pc:sldChg>
      <pc:sldChg chg="addSp delSp modSp add modAnim">
        <pc:chgData name="Moutaz Al-Huneidi" userId="ef06bd39-2c7b-4910-9028-4578ed52836d" providerId="ADAL" clId="{F0642C68-AF30-4CBF-BE63-B9B915665008}" dt="2019-06-06T17:46:19.649" v="2822"/>
        <pc:sldMkLst>
          <pc:docMk/>
          <pc:sldMk cId="1649489561" sldId="272"/>
        </pc:sldMkLst>
        <pc:spChg chg="mod">
          <ac:chgData name="Moutaz Al-Huneidi" userId="ef06bd39-2c7b-4910-9028-4578ed52836d" providerId="ADAL" clId="{F0642C68-AF30-4CBF-BE63-B9B915665008}" dt="2019-06-06T14:18:23.068" v="1313" actId="2711"/>
          <ac:spMkLst>
            <pc:docMk/>
            <pc:sldMk cId="1649489561" sldId="272"/>
            <ac:spMk id="2" creationId="{202B4D69-E695-4EED-AA59-9637D32D6B47}"/>
          </ac:spMkLst>
        </pc:spChg>
        <pc:spChg chg="del">
          <ac:chgData name="Moutaz Al-Huneidi" userId="ef06bd39-2c7b-4910-9028-4578ed52836d" providerId="ADAL" clId="{F0642C68-AF30-4CBF-BE63-B9B915665008}" dt="2019-06-05T12:54:30.059" v="1" actId="478"/>
          <ac:spMkLst>
            <pc:docMk/>
            <pc:sldMk cId="1649489561" sldId="272"/>
            <ac:spMk id="2" creationId="{ED46E112-76B4-4270-8F96-FB5C1E0BBB01}"/>
          </ac:spMkLst>
        </pc:spChg>
        <pc:spChg chg="del">
          <ac:chgData name="Moutaz Al-Huneidi" userId="ef06bd39-2c7b-4910-9028-4578ed52836d" providerId="ADAL" clId="{F0642C68-AF30-4CBF-BE63-B9B915665008}" dt="2019-06-05T12:54:31.629" v="2" actId="478"/>
          <ac:spMkLst>
            <pc:docMk/>
            <pc:sldMk cId="1649489561" sldId="272"/>
            <ac:spMk id="3" creationId="{C915D0CA-22D5-4CA3-80AF-C4CDDB21C4FD}"/>
          </ac:spMkLst>
        </pc:spChg>
        <pc:spChg chg="add mod">
          <ac:chgData name="Moutaz Al-Huneidi" userId="ef06bd39-2c7b-4910-9028-4578ed52836d" providerId="ADAL" clId="{F0642C68-AF30-4CBF-BE63-B9B915665008}" dt="2019-06-05T14:15:18.047" v="591"/>
          <ac:spMkLst>
            <pc:docMk/>
            <pc:sldMk cId="1649489561" sldId="272"/>
            <ac:spMk id="5" creationId="{B6836C87-F082-4B4A-9046-D2F881B6E338}"/>
          </ac:spMkLst>
        </pc:spChg>
        <pc:picChg chg="del mod">
          <ac:chgData name="Moutaz Al-Huneidi" userId="ef06bd39-2c7b-4910-9028-4578ed52836d" providerId="ADAL" clId="{F0642C68-AF30-4CBF-BE63-B9B915665008}" dt="2019-06-06T17:45:59.137" v="2816" actId="478"/>
          <ac:picMkLst>
            <pc:docMk/>
            <pc:sldMk cId="1649489561" sldId="272"/>
            <ac:picMk id="3" creationId="{48C5B011-6072-4046-B543-E69499BEA611}"/>
          </ac:picMkLst>
        </pc:picChg>
        <pc:picChg chg="add mod">
          <ac:chgData name="Moutaz Al-Huneidi" userId="ef06bd39-2c7b-4910-9028-4578ed52836d" providerId="ADAL" clId="{F0642C68-AF30-4CBF-BE63-B9B915665008}" dt="2019-06-05T14:15:33.625" v="593" actId="1076"/>
          <ac:picMkLst>
            <pc:docMk/>
            <pc:sldMk cId="1649489561" sldId="272"/>
            <ac:picMk id="4" creationId="{580976B6-038C-4BDA-8BCE-F4635E881E4F}"/>
          </ac:picMkLst>
        </pc:picChg>
        <pc:picChg chg="add mod modCrop">
          <ac:chgData name="Moutaz Al-Huneidi" userId="ef06bd39-2c7b-4910-9028-4578ed52836d" providerId="ADAL" clId="{F0642C68-AF30-4CBF-BE63-B9B915665008}" dt="2019-06-05T14:17:20.047" v="598" actId="1076"/>
          <ac:picMkLst>
            <pc:docMk/>
            <pc:sldMk cId="1649489561" sldId="272"/>
            <ac:picMk id="6" creationId="{25669C9B-5710-4BB2-996B-4E0AA295A7D3}"/>
          </ac:picMkLst>
        </pc:picChg>
        <pc:picChg chg="mod">
          <ac:chgData name="Moutaz Al-Huneidi" userId="ef06bd39-2c7b-4910-9028-4578ed52836d" providerId="ADAL" clId="{F0642C68-AF30-4CBF-BE63-B9B915665008}" dt="2019-06-05T14:17:31.622" v="600" actId="1076"/>
          <ac:picMkLst>
            <pc:docMk/>
            <pc:sldMk cId="1649489561" sldId="272"/>
            <ac:picMk id="7" creationId="{892FC77A-8391-EE48-8226-A190B02F2A2D}"/>
          </ac:picMkLst>
        </pc:picChg>
        <pc:picChg chg="add mod">
          <ac:chgData name="Moutaz Al-Huneidi" userId="ef06bd39-2c7b-4910-9028-4578ed52836d" providerId="ADAL" clId="{F0642C68-AF30-4CBF-BE63-B9B915665008}" dt="2019-06-05T14:15:29.204" v="592" actId="1076"/>
          <ac:picMkLst>
            <pc:docMk/>
            <pc:sldMk cId="1649489561" sldId="272"/>
            <ac:picMk id="8" creationId="{CBC3DB5A-516E-40F7-AF9A-415BC69517D9}"/>
          </ac:picMkLst>
        </pc:picChg>
        <pc:picChg chg="add mod">
          <ac:chgData name="Moutaz Al-Huneidi" userId="ef06bd39-2c7b-4910-9028-4578ed52836d" providerId="ADAL" clId="{F0642C68-AF30-4CBF-BE63-B9B915665008}" dt="2019-06-05T14:17:25.735" v="599" actId="1076"/>
          <ac:picMkLst>
            <pc:docMk/>
            <pc:sldMk cId="1649489561" sldId="272"/>
            <ac:picMk id="11" creationId="{5D113917-434E-47A6-9E34-86CC64D66D1E}"/>
          </ac:picMkLst>
        </pc:picChg>
        <pc:cxnChg chg="add">
          <ac:chgData name="Moutaz Al-Huneidi" userId="ef06bd39-2c7b-4910-9028-4578ed52836d" providerId="ADAL" clId="{F0642C68-AF30-4CBF-BE63-B9B915665008}" dt="2019-06-05T14:10:09.684" v="576"/>
          <ac:cxnSpMkLst>
            <pc:docMk/>
            <pc:sldMk cId="1649489561" sldId="272"/>
            <ac:cxnSpMk id="9" creationId="{53F6776C-250A-405E-85D3-CA07EFD96D89}"/>
          </ac:cxnSpMkLst>
        </pc:cxnChg>
      </pc:sldChg>
      <pc:sldChg chg="addSp delSp modSp modAnim">
        <pc:chgData name="Moutaz Al-Huneidi" userId="ef06bd39-2c7b-4910-9028-4578ed52836d" providerId="ADAL" clId="{F0642C68-AF30-4CBF-BE63-B9B915665008}" dt="2019-06-06T14:30:11.937" v="1381"/>
        <pc:sldMkLst>
          <pc:docMk/>
          <pc:sldMk cId="3140807147" sldId="274"/>
        </pc:sldMkLst>
        <pc:spChg chg="mod">
          <ac:chgData name="Moutaz Al-Huneidi" userId="ef06bd39-2c7b-4910-9028-4578ed52836d" providerId="ADAL" clId="{F0642C68-AF30-4CBF-BE63-B9B915665008}" dt="2019-06-06T14:17:58.174" v="1312" actId="255"/>
          <ac:spMkLst>
            <pc:docMk/>
            <pc:sldMk cId="3140807147" sldId="274"/>
            <ac:spMk id="2" creationId="{20A65CB7-FC66-4A15-AB6C-E0B6DB7E3D95}"/>
          </ac:spMkLst>
        </pc:spChg>
        <pc:picChg chg="mod">
          <ac:chgData name="Moutaz Al-Huneidi" userId="ef06bd39-2c7b-4910-9028-4578ed52836d" providerId="ADAL" clId="{F0642C68-AF30-4CBF-BE63-B9B915665008}" dt="2019-06-06T02:42:45.383" v="1021" actId="1076"/>
          <ac:picMkLst>
            <pc:docMk/>
            <pc:sldMk cId="3140807147" sldId="274"/>
            <ac:picMk id="3" creationId="{D8654882-21CD-4CDC-8F93-D261C5317143}"/>
          </ac:picMkLst>
        </pc:picChg>
        <pc:picChg chg="add mod">
          <ac:chgData name="Moutaz Al-Huneidi" userId="ef06bd39-2c7b-4910-9028-4578ed52836d" providerId="ADAL" clId="{F0642C68-AF30-4CBF-BE63-B9B915665008}" dt="2019-06-06T14:27:24.545" v="1357" actId="207"/>
          <ac:picMkLst>
            <pc:docMk/>
            <pc:sldMk cId="3140807147" sldId="274"/>
            <ac:picMk id="8" creationId="{6C94FA5D-47FA-4EF9-819C-0F93B80F1786}"/>
          </ac:picMkLst>
        </pc:picChg>
        <pc:picChg chg="add mod">
          <ac:chgData name="Moutaz Al-Huneidi" userId="ef06bd39-2c7b-4910-9028-4578ed52836d" providerId="ADAL" clId="{F0642C68-AF30-4CBF-BE63-B9B915665008}" dt="2019-06-06T14:28:55.268" v="1373" actId="1076"/>
          <ac:picMkLst>
            <pc:docMk/>
            <pc:sldMk cId="3140807147" sldId="274"/>
            <ac:picMk id="10" creationId="{291CED8C-7D11-44FB-BF24-E9C64B3F2D95}"/>
          </ac:picMkLst>
        </pc:picChg>
        <pc:picChg chg="add mod">
          <ac:chgData name="Moutaz Al-Huneidi" userId="ef06bd39-2c7b-4910-9028-4578ed52836d" providerId="ADAL" clId="{F0642C68-AF30-4CBF-BE63-B9B915665008}" dt="2019-06-06T14:29:01.202" v="1375" actId="207"/>
          <ac:picMkLst>
            <pc:docMk/>
            <pc:sldMk cId="3140807147" sldId="274"/>
            <ac:picMk id="12" creationId="{D9D63F18-4949-4BD4-9163-4CC52B16B3A9}"/>
          </ac:picMkLst>
        </pc:picChg>
        <pc:picChg chg="del">
          <ac:chgData name="Moutaz Al-Huneidi" userId="ef06bd39-2c7b-4910-9028-4578ed52836d" providerId="ADAL" clId="{F0642C68-AF30-4CBF-BE63-B9B915665008}" dt="2019-06-06T14:27:53.500" v="1366" actId="478"/>
          <ac:picMkLst>
            <pc:docMk/>
            <pc:sldMk cId="3140807147" sldId="274"/>
            <ac:picMk id="13" creationId="{138B2C36-991D-4F32-BD6A-2AB632AF513A}"/>
          </ac:picMkLst>
        </pc:picChg>
        <pc:picChg chg="add mod">
          <ac:chgData name="Moutaz Al-Huneidi" userId="ef06bd39-2c7b-4910-9028-4578ed52836d" providerId="ADAL" clId="{F0642C68-AF30-4CBF-BE63-B9B915665008}" dt="2019-06-06T14:27:46.840" v="1364" actId="688"/>
          <ac:picMkLst>
            <pc:docMk/>
            <pc:sldMk cId="3140807147" sldId="274"/>
            <ac:picMk id="14" creationId="{765838A4-C46A-4425-BE37-5814C8085BEE}"/>
          </ac:picMkLst>
        </pc:picChg>
        <pc:picChg chg="del">
          <ac:chgData name="Moutaz Al-Huneidi" userId="ef06bd39-2c7b-4910-9028-4578ed52836d" providerId="ADAL" clId="{F0642C68-AF30-4CBF-BE63-B9B915665008}" dt="2019-06-06T14:27:52.545" v="1365" actId="478"/>
          <ac:picMkLst>
            <pc:docMk/>
            <pc:sldMk cId="3140807147" sldId="274"/>
            <ac:picMk id="15" creationId="{731A444C-3030-4548-9D74-5C2C39E0DBD1}"/>
          </ac:picMkLst>
        </pc:picChg>
        <pc:picChg chg="del">
          <ac:chgData name="Moutaz Al-Huneidi" userId="ef06bd39-2c7b-4910-9028-4578ed52836d" providerId="ADAL" clId="{F0642C68-AF30-4CBF-BE63-B9B915665008}" dt="2019-06-06T14:25:13.621" v="1342" actId="478"/>
          <ac:picMkLst>
            <pc:docMk/>
            <pc:sldMk cId="3140807147" sldId="274"/>
            <ac:picMk id="19" creationId="{85767953-0397-45F8-B839-884E19172ED4}"/>
          </ac:picMkLst>
        </pc:picChg>
        <pc:picChg chg="del">
          <ac:chgData name="Moutaz Al-Huneidi" userId="ef06bd39-2c7b-4910-9028-4578ed52836d" providerId="ADAL" clId="{F0642C68-AF30-4CBF-BE63-B9B915665008}" dt="2019-06-06T14:25:15.661" v="1343" actId="478"/>
          <ac:picMkLst>
            <pc:docMk/>
            <pc:sldMk cId="3140807147" sldId="274"/>
            <ac:picMk id="21" creationId="{5CF3E545-7E0F-4ACE-BA38-11EC341E71D9}"/>
          </ac:picMkLst>
        </pc:picChg>
        <pc:cxnChg chg="add">
          <ac:chgData name="Moutaz Al-Huneidi" userId="ef06bd39-2c7b-4910-9028-4578ed52836d" providerId="ADAL" clId="{F0642C68-AF30-4CBF-BE63-B9B915665008}" dt="2019-06-05T14:10:10.966" v="577"/>
          <ac:cxnSpMkLst>
            <pc:docMk/>
            <pc:sldMk cId="3140807147" sldId="274"/>
            <ac:cxnSpMk id="5" creationId="{5CA1AE3F-710F-4A48-B30C-A0EBB7F24920}"/>
          </ac:cxnSpMkLst>
        </pc:cxnChg>
      </pc:sldChg>
      <pc:sldChg chg="del ord modTransition">
        <pc:chgData name="Moutaz Al-Huneidi" userId="ef06bd39-2c7b-4910-9028-4578ed52836d" providerId="ADAL" clId="{F0642C68-AF30-4CBF-BE63-B9B915665008}" dt="2019-06-06T15:47:29.092" v="2185" actId="2696"/>
        <pc:sldMkLst>
          <pc:docMk/>
          <pc:sldMk cId="3077758461" sldId="275"/>
        </pc:sldMkLst>
      </pc:sldChg>
      <pc:sldChg chg="del ord">
        <pc:chgData name="Moutaz Al-Huneidi" userId="ef06bd39-2c7b-4910-9028-4578ed52836d" providerId="ADAL" clId="{F0642C68-AF30-4CBF-BE63-B9B915665008}" dt="2019-06-06T15:47:28.340" v="2184" actId="2696"/>
        <pc:sldMkLst>
          <pc:docMk/>
          <pc:sldMk cId="787179459" sldId="277"/>
        </pc:sldMkLst>
      </pc:sldChg>
      <pc:sldChg chg="del">
        <pc:chgData name="Moutaz Al-Huneidi" userId="ef06bd39-2c7b-4910-9028-4578ed52836d" providerId="ADAL" clId="{F0642C68-AF30-4CBF-BE63-B9B915665008}" dt="2019-06-05T15:11:52.773" v="779" actId="2696"/>
        <pc:sldMkLst>
          <pc:docMk/>
          <pc:sldMk cId="3724255918" sldId="278"/>
        </pc:sldMkLst>
      </pc:sldChg>
      <pc:sldChg chg="addSp delSp modSp add del ord modTransition">
        <pc:chgData name="Moutaz Al-Huneidi" userId="ef06bd39-2c7b-4910-9028-4578ed52836d" providerId="ADAL" clId="{F0642C68-AF30-4CBF-BE63-B9B915665008}" dt="2019-06-06T15:47:27.406" v="2183" actId="2696"/>
        <pc:sldMkLst>
          <pc:docMk/>
          <pc:sldMk cId="3860776498" sldId="280"/>
        </pc:sldMkLst>
        <pc:spChg chg="del">
          <ac:chgData name="Moutaz Al-Huneidi" userId="ef06bd39-2c7b-4910-9028-4578ed52836d" providerId="ADAL" clId="{F0642C68-AF30-4CBF-BE63-B9B915665008}" dt="2019-06-05T15:10:52.257" v="761" actId="478"/>
          <ac:spMkLst>
            <pc:docMk/>
            <pc:sldMk cId="3860776498" sldId="280"/>
            <ac:spMk id="2" creationId="{20A65CB7-FC66-4A15-AB6C-E0B6DB7E3D95}"/>
          </ac:spMkLst>
        </pc:spChg>
        <pc:spChg chg="add mod">
          <ac:chgData name="Moutaz Al-Huneidi" userId="ef06bd39-2c7b-4910-9028-4578ed52836d" providerId="ADAL" clId="{F0642C68-AF30-4CBF-BE63-B9B915665008}" dt="2019-06-05T15:16:22.198" v="851" actId="207"/>
          <ac:spMkLst>
            <pc:docMk/>
            <pc:sldMk cId="3860776498" sldId="280"/>
            <ac:spMk id="11" creationId="{2D169F72-46E2-4D12-83DC-4CED653ECCE0}"/>
          </ac:spMkLst>
        </pc:spChg>
        <pc:spChg chg="add del">
          <ac:chgData name="Moutaz Al-Huneidi" userId="ef06bd39-2c7b-4910-9028-4578ed52836d" providerId="ADAL" clId="{F0642C68-AF30-4CBF-BE63-B9B915665008}" dt="2019-06-05T15:11:09.276" v="764"/>
          <ac:spMkLst>
            <pc:docMk/>
            <pc:sldMk cId="3860776498" sldId="280"/>
            <ac:spMk id="14" creationId="{393C3953-A9A6-42B2-9D0E-579712488DE8}"/>
          </ac:spMkLst>
        </pc:spChg>
        <pc:spChg chg="add del">
          <ac:chgData name="Moutaz Al-Huneidi" userId="ef06bd39-2c7b-4910-9028-4578ed52836d" providerId="ADAL" clId="{F0642C68-AF30-4CBF-BE63-B9B915665008}" dt="2019-06-05T15:11:09.276" v="764"/>
          <ac:spMkLst>
            <pc:docMk/>
            <pc:sldMk cId="3860776498" sldId="280"/>
            <ac:spMk id="17" creationId="{7ED4E83C-F2C6-4033-9BD1-BE6015809756}"/>
          </ac:spMkLst>
        </pc:spChg>
        <pc:spChg chg="add del">
          <ac:chgData name="Moutaz Al-Huneidi" userId="ef06bd39-2c7b-4910-9028-4578ed52836d" providerId="ADAL" clId="{F0642C68-AF30-4CBF-BE63-B9B915665008}" dt="2019-06-05T15:11:09.276" v="764"/>
          <ac:spMkLst>
            <pc:docMk/>
            <pc:sldMk cId="3860776498" sldId="280"/>
            <ac:spMk id="18" creationId="{7B6095DD-0A72-469B-AC6C-2153AD5ADD89}"/>
          </ac:spMkLst>
        </pc:spChg>
        <pc:spChg chg="add del">
          <ac:chgData name="Moutaz Al-Huneidi" userId="ef06bd39-2c7b-4910-9028-4578ed52836d" providerId="ADAL" clId="{F0642C68-AF30-4CBF-BE63-B9B915665008}" dt="2019-06-05T15:11:09.276" v="764"/>
          <ac:spMkLst>
            <pc:docMk/>
            <pc:sldMk cId="3860776498" sldId="280"/>
            <ac:spMk id="20" creationId="{06E06708-588F-49E3-A2A6-0C16C10B320A}"/>
          </ac:spMkLst>
        </pc:spChg>
        <pc:spChg chg="add del">
          <ac:chgData name="Moutaz Al-Huneidi" userId="ef06bd39-2c7b-4910-9028-4578ed52836d" providerId="ADAL" clId="{F0642C68-AF30-4CBF-BE63-B9B915665008}" dt="2019-06-05T15:11:09.276" v="764"/>
          <ac:spMkLst>
            <pc:docMk/>
            <pc:sldMk cId="3860776498" sldId="280"/>
            <ac:spMk id="22" creationId="{3CA306D9-6B03-4DED-8A7E-528FA5DB92E4}"/>
          </ac:spMkLst>
        </pc:spChg>
        <pc:spChg chg="add">
          <ac:chgData name="Moutaz Al-Huneidi" userId="ef06bd39-2c7b-4910-9028-4578ed52836d" providerId="ADAL" clId="{F0642C68-AF30-4CBF-BE63-B9B915665008}" dt="2019-06-05T15:11:19.555" v="765"/>
          <ac:spMkLst>
            <pc:docMk/>
            <pc:sldMk cId="3860776498" sldId="280"/>
            <ac:spMk id="33" creationId="{76E51895-DDF1-43EA-8C35-0D790881F61F}"/>
          </ac:spMkLst>
        </pc:spChg>
        <pc:spChg chg="add">
          <ac:chgData name="Moutaz Al-Huneidi" userId="ef06bd39-2c7b-4910-9028-4578ed52836d" providerId="ADAL" clId="{F0642C68-AF30-4CBF-BE63-B9B915665008}" dt="2019-06-05T15:11:19.555" v="765"/>
          <ac:spMkLst>
            <pc:docMk/>
            <pc:sldMk cId="3860776498" sldId="280"/>
            <ac:spMk id="34" creationId="{2346B3FB-2ACE-444C-AD1E-77C674E60E14}"/>
          </ac:spMkLst>
        </pc:spChg>
        <pc:spChg chg="add">
          <ac:chgData name="Moutaz Al-Huneidi" userId="ef06bd39-2c7b-4910-9028-4578ed52836d" providerId="ADAL" clId="{F0642C68-AF30-4CBF-BE63-B9B915665008}" dt="2019-06-05T15:11:19.555" v="765"/>
          <ac:spMkLst>
            <pc:docMk/>
            <pc:sldMk cId="3860776498" sldId="280"/>
            <ac:spMk id="35" creationId="{99DF23E9-1A5A-4DB5-B325-26A9158FAA44}"/>
          </ac:spMkLst>
        </pc:spChg>
        <pc:spChg chg="add">
          <ac:chgData name="Moutaz Al-Huneidi" userId="ef06bd39-2c7b-4910-9028-4578ed52836d" providerId="ADAL" clId="{F0642C68-AF30-4CBF-BE63-B9B915665008}" dt="2019-06-05T15:11:19.555" v="765"/>
          <ac:spMkLst>
            <pc:docMk/>
            <pc:sldMk cId="3860776498" sldId="280"/>
            <ac:spMk id="36" creationId="{A4D43BC0-2D01-4E60-8D3A-38E8A6632A24}"/>
          </ac:spMkLst>
        </pc:spChg>
        <pc:spChg chg="add">
          <ac:chgData name="Moutaz Al-Huneidi" userId="ef06bd39-2c7b-4910-9028-4578ed52836d" providerId="ADAL" clId="{F0642C68-AF30-4CBF-BE63-B9B915665008}" dt="2019-06-05T15:11:19.555" v="765"/>
          <ac:spMkLst>
            <pc:docMk/>
            <pc:sldMk cId="3860776498" sldId="280"/>
            <ac:spMk id="37" creationId="{988078CF-49DD-4D33-AA58-6ED3DA2B3914}"/>
          </ac:spMkLst>
        </pc:spChg>
        <pc:spChg chg="add">
          <ac:chgData name="Moutaz Al-Huneidi" userId="ef06bd39-2c7b-4910-9028-4578ed52836d" providerId="ADAL" clId="{F0642C68-AF30-4CBF-BE63-B9B915665008}" dt="2019-06-05T15:11:19.555" v="765"/>
          <ac:spMkLst>
            <pc:docMk/>
            <pc:sldMk cId="3860776498" sldId="280"/>
            <ac:spMk id="38" creationId="{63D4221D-4F32-49EF-9570-F77A445D652F}"/>
          </ac:spMkLst>
        </pc:spChg>
        <pc:spChg chg="add">
          <ac:chgData name="Moutaz Al-Huneidi" userId="ef06bd39-2c7b-4910-9028-4578ed52836d" providerId="ADAL" clId="{F0642C68-AF30-4CBF-BE63-B9B915665008}" dt="2019-06-05T15:11:19.555" v="765"/>
          <ac:spMkLst>
            <pc:docMk/>
            <pc:sldMk cId="3860776498" sldId="280"/>
            <ac:spMk id="39" creationId="{894918B6-003D-4111-B937-D33737EDBEDA}"/>
          </ac:spMkLst>
        </pc:spChg>
        <pc:spChg chg="add">
          <ac:chgData name="Moutaz Al-Huneidi" userId="ef06bd39-2c7b-4910-9028-4578ed52836d" providerId="ADAL" clId="{F0642C68-AF30-4CBF-BE63-B9B915665008}" dt="2019-06-05T15:11:19.555" v="765"/>
          <ac:spMkLst>
            <pc:docMk/>
            <pc:sldMk cId="3860776498" sldId="280"/>
            <ac:spMk id="40" creationId="{34995370-718D-4ED7-9A10-527B88B05DD4}"/>
          </ac:spMkLst>
        </pc:spChg>
        <pc:spChg chg="add">
          <ac:chgData name="Moutaz Al-Huneidi" userId="ef06bd39-2c7b-4910-9028-4578ed52836d" providerId="ADAL" clId="{F0642C68-AF30-4CBF-BE63-B9B915665008}" dt="2019-06-05T15:11:19.555" v="765"/>
          <ac:spMkLst>
            <pc:docMk/>
            <pc:sldMk cId="3860776498" sldId="280"/>
            <ac:spMk id="41" creationId="{412EABB3-7BD0-4346-9FF2-F9FD21ADDDEA}"/>
          </ac:spMkLst>
        </pc:spChg>
        <pc:spChg chg="add">
          <ac:chgData name="Moutaz Al-Huneidi" userId="ef06bd39-2c7b-4910-9028-4578ed52836d" providerId="ADAL" clId="{F0642C68-AF30-4CBF-BE63-B9B915665008}" dt="2019-06-05T15:11:19.555" v="765"/>
          <ac:spMkLst>
            <pc:docMk/>
            <pc:sldMk cId="3860776498" sldId="280"/>
            <ac:spMk id="51" creationId="{0D294965-80D3-443D-94F7-545DE3C71F93}"/>
          </ac:spMkLst>
        </pc:spChg>
        <pc:spChg chg="add">
          <ac:chgData name="Moutaz Al-Huneidi" userId="ef06bd39-2c7b-4910-9028-4578ed52836d" providerId="ADAL" clId="{F0642C68-AF30-4CBF-BE63-B9B915665008}" dt="2019-06-05T15:11:19.555" v="765"/>
          <ac:spMkLst>
            <pc:docMk/>
            <pc:sldMk cId="3860776498" sldId="280"/>
            <ac:spMk id="52" creationId="{145F5193-08A4-4FC5-9E33-5A4AAE8E97CB}"/>
          </ac:spMkLst>
        </pc:spChg>
        <pc:spChg chg="add">
          <ac:chgData name="Moutaz Al-Huneidi" userId="ef06bd39-2c7b-4910-9028-4578ed52836d" providerId="ADAL" clId="{F0642C68-AF30-4CBF-BE63-B9B915665008}" dt="2019-06-05T15:11:19.555" v="765"/>
          <ac:spMkLst>
            <pc:docMk/>
            <pc:sldMk cId="3860776498" sldId="280"/>
            <ac:spMk id="53" creationId="{5B4B1AE8-368B-4170-8002-B7EAC777B279}"/>
          </ac:spMkLst>
        </pc:spChg>
        <pc:spChg chg="add">
          <ac:chgData name="Moutaz Al-Huneidi" userId="ef06bd39-2c7b-4910-9028-4578ed52836d" providerId="ADAL" clId="{F0642C68-AF30-4CBF-BE63-B9B915665008}" dt="2019-06-05T15:11:19.555" v="765"/>
          <ac:spMkLst>
            <pc:docMk/>
            <pc:sldMk cId="3860776498" sldId="280"/>
            <ac:spMk id="54" creationId="{5A7FCA49-8B51-4385-8374-3E35CF840C07}"/>
          </ac:spMkLst>
        </pc:spChg>
        <pc:spChg chg="add">
          <ac:chgData name="Moutaz Al-Huneidi" userId="ef06bd39-2c7b-4910-9028-4578ed52836d" providerId="ADAL" clId="{F0642C68-AF30-4CBF-BE63-B9B915665008}" dt="2019-06-05T15:11:19.555" v="765"/>
          <ac:spMkLst>
            <pc:docMk/>
            <pc:sldMk cId="3860776498" sldId="280"/>
            <ac:spMk id="55" creationId="{3C08838C-9C1A-42B3-8B58-8F9961CD71C2}"/>
          </ac:spMkLst>
        </pc:spChg>
        <pc:spChg chg="add">
          <ac:chgData name="Moutaz Al-Huneidi" userId="ef06bd39-2c7b-4910-9028-4578ed52836d" providerId="ADAL" clId="{F0642C68-AF30-4CBF-BE63-B9B915665008}" dt="2019-06-05T15:11:19.555" v="765"/>
          <ac:spMkLst>
            <pc:docMk/>
            <pc:sldMk cId="3860776498" sldId="280"/>
            <ac:spMk id="56" creationId="{4DB80594-5A68-461F-9ECA-068895EDD447}"/>
          </ac:spMkLst>
        </pc:spChg>
        <pc:spChg chg="add">
          <ac:chgData name="Moutaz Al-Huneidi" userId="ef06bd39-2c7b-4910-9028-4578ed52836d" providerId="ADAL" clId="{F0642C68-AF30-4CBF-BE63-B9B915665008}" dt="2019-06-05T15:11:19.555" v="765"/>
          <ac:spMkLst>
            <pc:docMk/>
            <pc:sldMk cId="3860776498" sldId="280"/>
            <ac:spMk id="57" creationId="{AAD5BD21-0727-484E-9844-E7F7CA4F01F5}"/>
          </ac:spMkLst>
        </pc:spChg>
        <pc:spChg chg="add">
          <ac:chgData name="Moutaz Al-Huneidi" userId="ef06bd39-2c7b-4910-9028-4578ed52836d" providerId="ADAL" clId="{F0642C68-AF30-4CBF-BE63-B9B915665008}" dt="2019-06-05T15:11:19.555" v="765"/>
          <ac:spMkLst>
            <pc:docMk/>
            <pc:sldMk cId="3860776498" sldId="280"/>
            <ac:spMk id="58" creationId="{05D88343-8C61-45C7-B709-4E52DB751AD5}"/>
          </ac:spMkLst>
        </pc:spChg>
        <pc:spChg chg="add">
          <ac:chgData name="Moutaz Al-Huneidi" userId="ef06bd39-2c7b-4910-9028-4578ed52836d" providerId="ADAL" clId="{F0642C68-AF30-4CBF-BE63-B9B915665008}" dt="2019-06-05T15:11:19.555" v="765"/>
          <ac:spMkLst>
            <pc:docMk/>
            <pc:sldMk cId="3860776498" sldId="280"/>
            <ac:spMk id="59" creationId="{84BFC55F-4C22-4D7D-8072-BFB9139728AB}"/>
          </ac:spMkLst>
        </pc:spChg>
        <pc:spChg chg="add">
          <ac:chgData name="Moutaz Al-Huneidi" userId="ef06bd39-2c7b-4910-9028-4578ed52836d" providerId="ADAL" clId="{F0642C68-AF30-4CBF-BE63-B9B915665008}" dt="2019-06-05T15:11:19.555" v="765"/>
          <ac:spMkLst>
            <pc:docMk/>
            <pc:sldMk cId="3860776498" sldId="280"/>
            <ac:spMk id="60" creationId="{CDCD0A46-2506-4E11-BB70-7C9168E05DB0}"/>
          </ac:spMkLst>
        </pc:spChg>
        <pc:spChg chg="add">
          <ac:chgData name="Moutaz Al-Huneidi" userId="ef06bd39-2c7b-4910-9028-4578ed52836d" providerId="ADAL" clId="{F0642C68-AF30-4CBF-BE63-B9B915665008}" dt="2019-06-05T15:11:19.555" v="765"/>
          <ac:spMkLst>
            <pc:docMk/>
            <pc:sldMk cId="3860776498" sldId="280"/>
            <ac:spMk id="61" creationId="{8E84FC9B-7830-49B4-BD88-8FED011421C0}"/>
          </ac:spMkLst>
        </pc:spChg>
        <pc:spChg chg="add">
          <ac:chgData name="Moutaz Al-Huneidi" userId="ef06bd39-2c7b-4910-9028-4578ed52836d" providerId="ADAL" clId="{F0642C68-AF30-4CBF-BE63-B9B915665008}" dt="2019-06-05T15:11:19.555" v="765"/>
          <ac:spMkLst>
            <pc:docMk/>
            <pc:sldMk cId="3860776498" sldId="280"/>
            <ac:spMk id="62" creationId="{BC9F4F78-CCAC-48A6-946C-857BD31C32C3}"/>
          </ac:spMkLst>
        </pc:spChg>
        <pc:spChg chg="add">
          <ac:chgData name="Moutaz Al-Huneidi" userId="ef06bd39-2c7b-4910-9028-4578ed52836d" providerId="ADAL" clId="{F0642C68-AF30-4CBF-BE63-B9B915665008}" dt="2019-06-05T15:11:19.555" v="765"/>
          <ac:spMkLst>
            <pc:docMk/>
            <pc:sldMk cId="3860776498" sldId="280"/>
            <ac:spMk id="63" creationId="{5F4688CA-22BF-4877-8356-9FA9BC2F60C0}"/>
          </ac:spMkLst>
        </pc:spChg>
        <pc:spChg chg="add">
          <ac:chgData name="Moutaz Al-Huneidi" userId="ef06bd39-2c7b-4910-9028-4578ed52836d" providerId="ADAL" clId="{F0642C68-AF30-4CBF-BE63-B9B915665008}" dt="2019-06-05T15:11:19.555" v="765"/>
          <ac:spMkLst>
            <pc:docMk/>
            <pc:sldMk cId="3860776498" sldId="280"/>
            <ac:spMk id="64" creationId="{2967CACD-C2D0-4DB5-B193-7563323C1EFB}"/>
          </ac:spMkLst>
        </pc:spChg>
        <pc:spChg chg="add">
          <ac:chgData name="Moutaz Al-Huneidi" userId="ef06bd39-2c7b-4910-9028-4578ed52836d" providerId="ADAL" clId="{F0642C68-AF30-4CBF-BE63-B9B915665008}" dt="2019-06-05T15:11:19.555" v="765"/>
          <ac:spMkLst>
            <pc:docMk/>
            <pc:sldMk cId="3860776498" sldId="280"/>
            <ac:spMk id="65" creationId="{B5CB0E8E-0EB0-4141-91C4-5E351F33885C}"/>
          </ac:spMkLst>
        </pc:spChg>
        <pc:spChg chg="add">
          <ac:chgData name="Moutaz Al-Huneidi" userId="ef06bd39-2c7b-4910-9028-4578ed52836d" providerId="ADAL" clId="{F0642C68-AF30-4CBF-BE63-B9B915665008}" dt="2019-06-05T15:11:19.555" v="765"/>
          <ac:spMkLst>
            <pc:docMk/>
            <pc:sldMk cId="3860776498" sldId="280"/>
            <ac:spMk id="66" creationId="{47CDDC17-5A31-47C1-BE27-9FB1AA209CA2}"/>
          </ac:spMkLst>
        </pc:spChg>
        <pc:spChg chg="add">
          <ac:chgData name="Moutaz Al-Huneidi" userId="ef06bd39-2c7b-4910-9028-4578ed52836d" providerId="ADAL" clId="{F0642C68-AF30-4CBF-BE63-B9B915665008}" dt="2019-06-05T15:11:19.555" v="765"/>
          <ac:spMkLst>
            <pc:docMk/>
            <pc:sldMk cId="3860776498" sldId="280"/>
            <ac:spMk id="67" creationId="{C33F5C8E-45A6-4A40-A08F-AAD4CA8369E9}"/>
          </ac:spMkLst>
        </pc:spChg>
        <pc:spChg chg="add">
          <ac:chgData name="Moutaz Al-Huneidi" userId="ef06bd39-2c7b-4910-9028-4578ed52836d" providerId="ADAL" clId="{F0642C68-AF30-4CBF-BE63-B9B915665008}" dt="2019-06-05T15:11:19.555" v="765"/>
          <ac:spMkLst>
            <pc:docMk/>
            <pc:sldMk cId="3860776498" sldId="280"/>
            <ac:spMk id="68" creationId="{E23099BE-7300-44E0-A97B-2F20859F7A98}"/>
          </ac:spMkLst>
        </pc:spChg>
        <pc:spChg chg="add">
          <ac:chgData name="Moutaz Al-Huneidi" userId="ef06bd39-2c7b-4910-9028-4578ed52836d" providerId="ADAL" clId="{F0642C68-AF30-4CBF-BE63-B9B915665008}" dt="2019-06-05T15:11:19.555" v="765"/>
          <ac:spMkLst>
            <pc:docMk/>
            <pc:sldMk cId="3860776498" sldId="280"/>
            <ac:spMk id="69" creationId="{22116B3E-DB1D-4E03-9935-69EFC24A844E}"/>
          </ac:spMkLst>
        </pc:spChg>
        <pc:spChg chg="add">
          <ac:chgData name="Moutaz Al-Huneidi" userId="ef06bd39-2c7b-4910-9028-4578ed52836d" providerId="ADAL" clId="{F0642C68-AF30-4CBF-BE63-B9B915665008}" dt="2019-06-05T15:11:19.555" v="765"/>
          <ac:spMkLst>
            <pc:docMk/>
            <pc:sldMk cId="3860776498" sldId="280"/>
            <ac:spMk id="70" creationId="{C801A103-76A0-43BE-A0E4-64F540B6AAD5}"/>
          </ac:spMkLst>
        </pc:spChg>
        <pc:spChg chg="add">
          <ac:chgData name="Moutaz Al-Huneidi" userId="ef06bd39-2c7b-4910-9028-4578ed52836d" providerId="ADAL" clId="{F0642C68-AF30-4CBF-BE63-B9B915665008}" dt="2019-06-05T15:11:19.555" v="765"/>
          <ac:spMkLst>
            <pc:docMk/>
            <pc:sldMk cId="3860776498" sldId="280"/>
            <ac:spMk id="71" creationId="{64368B3A-33A3-4E09-9720-1229307E8590}"/>
          </ac:spMkLst>
        </pc:spChg>
        <pc:spChg chg="add">
          <ac:chgData name="Moutaz Al-Huneidi" userId="ef06bd39-2c7b-4910-9028-4578ed52836d" providerId="ADAL" clId="{F0642C68-AF30-4CBF-BE63-B9B915665008}" dt="2019-06-05T15:11:19.555" v="765"/>
          <ac:spMkLst>
            <pc:docMk/>
            <pc:sldMk cId="3860776498" sldId="280"/>
            <ac:spMk id="72" creationId="{08991A41-8E5F-405A-95F0-D7937CD884DC}"/>
          </ac:spMkLst>
        </pc:spChg>
        <pc:spChg chg="add">
          <ac:chgData name="Moutaz Al-Huneidi" userId="ef06bd39-2c7b-4910-9028-4578ed52836d" providerId="ADAL" clId="{F0642C68-AF30-4CBF-BE63-B9B915665008}" dt="2019-06-05T15:11:19.555" v="765"/>
          <ac:spMkLst>
            <pc:docMk/>
            <pc:sldMk cId="3860776498" sldId="280"/>
            <ac:spMk id="73" creationId="{7E695ED1-87B1-4BEC-AC54-F2941550E1CA}"/>
          </ac:spMkLst>
        </pc:spChg>
        <pc:graphicFrameChg chg="add del">
          <ac:chgData name="Moutaz Al-Huneidi" userId="ef06bd39-2c7b-4910-9028-4578ed52836d" providerId="ADAL" clId="{F0642C68-AF30-4CBF-BE63-B9B915665008}" dt="2019-06-05T15:11:09.276" v="764"/>
          <ac:graphicFrameMkLst>
            <pc:docMk/>
            <pc:sldMk cId="3860776498" sldId="280"/>
            <ac:graphicFrameMk id="12" creationId="{88E5DBCC-DBE1-4BAA-8171-660C409BC3AC}"/>
          </ac:graphicFrameMkLst>
        </pc:graphicFrameChg>
        <pc:graphicFrameChg chg="add del">
          <ac:chgData name="Moutaz Al-Huneidi" userId="ef06bd39-2c7b-4910-9028-4578ed52836d" providerId="ADAL" clId="{F0642C68-AF30-4CBF-BE63-B9B915665008}" dt="2019-06-05T15:11:09.276" v="764"/>
          <ac:graphicFrameMkLst>
            <pc:docMk/>
            <pc:sldMk cId="3860776498" sldId="280"/>
            <ac:graphicFrameMk id="16" creationId="{C426233E-BA82-4D89-82DE-7D58D37C3BC9}"/>
          </ac:graphicFrameMkLst>
        </pc:graphicFrameChg>
        <pc:graphicFrameChg chg="add">
          <ac:chgData name="Moutaz Al-Huneidi" userId="ef06bd39-2c7b-4910-9028-4578ed52836d" providerId="ADAL" clId="{F0642C68-AF30-4CBF-BE63-B9B915665008}" dt="2019-06-05T15:11:19.555" v="765"/>
          <ac:graphicFrameMkLst>
            <pc:docMk/>
            <pc:sldMk cId="3860776498" sldId="280"/>
            <ac:graphicFrameMk id="32" creationId="{33C7C921-AABA-4536-8BC1-D79FF328B547}"/>
          </ac:graphicFrameMkLst>
        </pc:graphicFrameChg>
        <pc:graphicFrameChg chg="add">
          <ac:chgData name="Moutaz Al-Huneidi" userId="ef06bd39-2c7b-4910-9028-4578ed52836d" providerId="ADAL" clId="{F0642C68-AF30-4CBF-BE63-B9B915665008}" dt="2019-06-05T15:11:19.555" v="765"/>
          <ac:graphicFrameMkLst>
            <pc:docMk/>
            <pc:sldMk cId="3860776498" sldId="280"/>
            <ac:graphicFrameMk id="50" creationId="{1C45D7ED-6EB5-474D-828C-23724B923195}"/>
          </ac:graphicFrameMkLst>
        </pc:graphicFrameChg>
        <pc:picChg chg="del">
          <ac:chgData name="Moutaz Al-Huneidi" userId="ef06bd39-2c7b-4910-9028-4578ed52836d" providerId="ADAL" clId="{F0642C68-AF30-4CBF-BE63-B9B915665008}" dt="2019-06-05T15:10:48.175" v="756" actId="478"/>
          <ac:picMkLst>
            <pc:docMk/>
            <pc:sldMk cId="3860776498" sldId="280"/>
            <ac:picMk id="3" creationId="{D8654882-21CD-4CDC-8F93-D261C5317143}"/>
          </ac:picMkLst>
        </pc:picChg>
        <pc:picChg chg="del">
          <ac:chgData name="Moutaz Al-Huneidi" userId="ef06bd39-2c7b-4910-9028-4578ed52836d" providerId="ADAL" clId="{F0642C68-AF30-4CBF-BE63-B9B915665008}" dt="2019-06-05T15:10:48.690" v="757" actId="478"/>
          <ac:picMkLst>
            <pc:docMk/>
            <pc:sldMk cId="3860776498" sldId="280"/>
            <ac:picMk id="4" creationId="{C838FBF8-1E70-4DD5-B69C-CB3EA07C9300}"/>
          </ac:picMkLst>
        </pc:picChg>
        <pc:picChg chg="del">
          <ac:chgData name="Moutaz Al-Huneidi" userId="ef06bd39-2c7b-4910-9028-4578ed52836d" providerId="ADAL" clId="{F0642C68-AF30-4CBF-BE63-B9B915665008}" dt="2019-06-05T15:10:50.150" v="759" actId="478"/>
          <ac:picMkLst>
            <pc:docMk/>
            <pc:sldMk cId="3860776498" sldId="280"/>
            <ac:picMk id="13" creationId="{138B2C36-991D-4F32-BD6A-2AB632AF513A}"/>
          </ac:picMkLst>
        </pc:picChg>
        <pc:picChg chg="del">
          <ac:chgData name="Moutaz Al-Huneidi" userId="ef06bd39-2c7b-4910-9028-4578ed52836d" providerId="ADAL" clId="{F0642C68-AF30-4CBF-BE63-B9B915665008}" dt="2019-06-05T15:10:47.222" v="755" actId="478"/>
          <ac:picMkLst>
            <pc:docMk/>
            <pc:sldMk cId="3860776498" sldId="280"/>
            <ac:picMk id="15" creationId="{731A444C-3030-4548-9D74-5C2C39E0DBD1}"/>
          </ac:picMkLst>
        </pc:picChg>
        <pc:picChg chg="del">
          <ac:chgData name="Moutaz Al-Huneidi" userId="ef06bd39-2c7b-4910-9028-4578ed52836d" providerId="ADAL" clId="{F0642C68-AF30-4CBF-BE63-B9B915665008}" dt="2019-06-05T15:10:49.337" v="758" actId="478"/>
          <ac:picMkLst>
            <pc:docMk/>
            <pc:sldMk cId="3860776498" sldId="280"/>
            <ac:picMk id="19" creationId="{85767953-0397-45F8-B839-884E19172ED4}"/>
          </ac:picMkLst>
        </pc:picChg>
        <pc:picChg chg="del">
          <ac:chgData name="Moutaz Al-Huneidi" userId="ef06bd39-2c7b-4910-9028-4578ed52836d" providerId="ADAL" clId="{F0642C68-AF30-4CBF-BE63-B9B915665008}" dt="2019-06-05T15:10:51.017" v="760" actId="478"/>
          <ac:picMkLst>
            <pc:docMk/>
            <pc:sldMk cId="3860776498" sldId="280"/>
            <ac:picMk id="21" creationId="{5CF3E545-7E0F-4ACE-BA38-11EC341E71D9}"/>
          </ac:picMkLst>
        </pc:picChg>
        <pc:cxnChg chg="add">
          <ac:chgData name="Moutaz Al-Huneidi" userId="ef06bd39-2c7b-4910-9028-4578ed52836d" providerId="ADAL" clId="{F0642C68-AF30-4CBF-BE63-B9B915665008}" dt="2019-06-05T15:11:19.555" v="765"/>
          <ac:cxnSpMkLst>
            <pc:docMk/>
            <pc:sldMk cId="3860776498" sldId="280"/>
            <ac:cxnSpMk id="23" creationId="{17FAABF1-BA90-4239-905A-7392E2E00861}"/>
          </ac:cxnSpMkLst>
        </pc:cxnChg>
        <pc:cxnChg chg="add">
          <ac:chgData name="Moutaz Al-Huneidi" userId="ef06bd39-2c7b-4910-9028-4578ed52836d" providerId="ADAL" clId="{F0642C68-AF30-4CBF-BE63-B9B915665008}" dt="2019-06-05T15:11:19.555" v="765"/>
          <ac:cxnSpMkLst>
            <pc:docMk/>
            <pc:sldMk cId="3860776498" sldId="280"/>
            <ac:cxnSpMk id="24" creationId="{3B83B070-01B8-4282-9AC6-891DE1F3D2E4}"/>
          </ac:cxnSpMkLst>
        </pc:cxnChg>
        <pc:cxnChg chg="add">
          <ac:chgData name="Moutaz Al-Huneidi" userId="ef06bd39-2c7b-4910-9028-4578ed52836d" providerId="ADAL" clId="{F0642C68-AF30-4CBF-BE63-B9B915665008}" dt="2019-06-05T15:11:19.555" v="765"/>
          <ac:cxnSpMkLst>
            <pc:docMk/>
            <pc:sldMk cId="3860776498" sldId="280"/>
            <ac:cxnSpMk id="25" creationId="{7390137B-7AC1-4F78-A062-540D7341FBB6}"/>
          </ac:cxnSpMkLst>
        </pc:cxnChg>
        <pc:cxnChg chg="add">
          <ac:chgData name="Moutaz Al-Huneidi" userId="ef06bd39-2c7b-4910-9028-4578ed52836d" providerId="ADAL" clId="{F0642C68-AF30-4CBF-BE63-B9B915665008}" dt="2019-06-05T15:11:19.555" v="765"/>
          <ac:cxnSpMkLst>
            <pc:docMk/>
            <pc:sldMk cId="3860776498" sldId="280"/>
            <ac:cxnSpMk id="26" creationId="{88F23AB5-5137-4A8D-B57E-AF62B992D160}"/>
          </ac:cxnSpMkLst>
        </pc:cxnChg>
        <pc:cxnChg chg="add">
          <ac:chgData name="Moutaz Al-Huneidi" userId="ef06bd39-2c7b-4910-9028-4578ed52836d" providerId="ADAL" clId="{F0642C68-AF30-4CBF-BE63-B9B915665008}" dt="2019-06-05T15:11:19.555" v="765"/>
          <ac:cxnSpMkLst>
            <pc:docMk/>
            <pc:sldMk cId="3860776498" sldId="280"/>
            <ac:cxnSpMk id="27" creationId="{FF0A5FE7-12BB-4F06-9607-F4BB5C2F024F}"/>
          </ac:cxnSpMkLst>
        </pc:cxnChg>
        <pc:cxnChg chg="add">
          <ac:chgData name="Moutaz Al-Huneidi" userId="ef06bd39-2c7b-4910-9028-4578ed52836d" providerId="ADAL" clId="{F0642C68-AF30-4CBF-BE63-B9B915665008}" dt="2019-06-05T15:11:19.555" v="765"/>
          <ac:cxnSpMkLst>
            <pc:docMk/>
            <pc:sldMk cId="3860776498" sldId="280"/>
            <ac:cxnSpMk id="28" creationId="{8120FB07-9254-4F38-843D-1E4E84E5F188}"/>
          </ac:cxnSpMkLst>
        </pc:cxnChg>
        <pc:cxnChg chg="add">
          <ac:chgData name="Moutaz Al-Huneidi" userId="ef06bd39-2c7b-4910-9028-4578ed52836d" providerId="ADAL" clId="{F0642C68-AF30-4CBF-BE63-B9B915665008}" dt="2019-06-05T15:11:19.555" v="765"/>
          <ac:cxnSpMkLst>
            <pc:docMk/>
            <pc:sldMk cId="3860776498" sldId="280"/>
            <ac:cxnSpMk id="29" creationId="{BF8488B2-ED19-4AA6-9056-E8A5B91BF012}"/>
          </ac:cxnSpMkLst>
        </pc:cxnChg>
        <pc:cxnChg chg="add">
          <ac:chgData name="Moutaz Al-Huneidi" userId="ef06bd39-2c7b-4910-9028-4578ed52836d" providerId="ADAL" clId="{F0642C68-AF30-4CBF-BE63-B9B915665008}" dt="2019-06-05T15:11:19.555" v="765"/>
          <ac:cxnSpMkLst>
            <pc:docMk/>
            <pc:sldMk cId="3860776498" sldId="280"/>
            <ac:cxnSpMk id="30" creationId="{C1066FFC-E107-4F70-9AF8-03FE17DD4F35}"/>
          </ac:cxnSpMkLst>
        </pc:cxnChg>
        <pc:cxnChg chg="add">
          <ac:chgData name="Moutaz Al-Huneidi" userId="ef06bd39-2c7b-4910-9028-4578ed52836d" providerId="ADAL" clId="{F0642C68-AF30-4CBF-BE63-B9B915665008}" dt="2019-06-05T15:11:19.555" v="765"/>
          <ac:cxnSpMkLst>
            <pc:docMk/>
            <pc:sldMk cId="3860776498" sldId="280"/>
            <ac:cxnSpMk id="31" creationId="{ED2B6814-67E9-4E23-BB9C-B3D3B4B055EF}"/>
          </ac:cxnSpMkLst>
        </pc:cxnChg>
        <pc:cxnChg chg="add">
          <ac:chgData name="Moutaz Al-Huneidi" userId="ef06bd39-2c7b-4910-9028-4578ed52836d" providerId="ADAL" clId="{F0642C68-AF30-4CBF-BE63-B9B915665008}" dt="2019-06-05T15:11:19.555" v="765"/>
          <ac:cxnSpMkLst>
            <pc:docMk/>
            <pc:sldMk cId="3860776498" sldId="280"/>
            <ac:cxnSpMk id="42" creationId="{5174F9DF-E7A3-4A57-9AC8-92E11E7D2EC2}"/>
          </ac:cxnSpMkLst>
        </pc:cxnChg>
        <pc:cxnChg chg="add">
          <ac:chgData name="Moutaz Al-Huneidi" userId="ef06bd39-2c7b-4910-9028-4578ed52836d" providerId="ADAL" clId="{F0642C68-AF30-4CBF-BE63-B9B915665008}" dt="2019-06-05T15:11:19.555" v="765"/>
          <ac:cxnSpMkLst>
            <pc:docMk/>
            <pc:sldMk cId="3860776498" sldId="280"/>
            <ac:cxnSpMk id="43" creationId="{418B7517-7067-43B2-A7E2-253FF68F9979}"/>
          </ac:cxnSpMkLst>
        </pc:cxnChg>
        <pc:cxnChg chg="add">
          <ac:chgData name="Moutaz Al-Huneidi" userId="ef06bd39-2c7b-4910-9028-4578ed52836d" providerId="ADAL" clId="{F0642C68-AF30-4CBF-BE63-B9B915665008}" dt="2019-06-05T15:11:19.555" v="765"/>
          <ac:cxnSpMkLst>
            <pc:docMk/>
            <pc:sldMk cId="3860776498" sldId="280"/>
            <ac:cxnSpMk id="44" creationId="{8509C374-8738-468A-8B03-427B30198E4D}"/>
          </ac:cxnSpMkLst>
        </pc:cxnChg>
        <pc:cxnChg chg="add">
          <ac:chgData name="Moutaz Al-Huneidi" userId="ef06bd39-2c7b-4910-9028-4578ed52836d" providerId="ADAL" clId="{F0642C68-AF30-4CBF-BE63-B9B915665008}" dt="2019-06-05T15:11:19.555" v="765"/>
          <ac:cxnSpMkLst>
            <pc:docMk/>
            <pc:sldMk cId="3860776498" sldId="280"/>
            <ac:cxnSpMk id="45" creationId="{5C5307DF-298F-4641-BFA4-92397570F3C0}"/>
          </ac:cxnSpMkLst>
        </pc:cxnChg>
        <pc:cxnChg chg="add">
          <ac:chgData name="Moutaz Al-Huneidi" userId="ef06bd39-2c7b-4910-9028-4578ed52836d" providerId="ADAL" clId="{F0642C68-AF30-4CBF-BE63-B9B915665008}" dt="2019-06-05T15:11:19.555" v="765"/>
          <ac:cxnSpMkLst>
            <pc:docMk/>
            <pc:sldMk cId="3860776498" sldId="280"/>
            <ac:cxnSpMk id="46" creationId="{15FA5A3A-2037-4E25-B3B4-51EAE1173A8D}"/>
          </ac:cxnSpMkLst>
        </pc:cxnChg>
        <pc:cxnChg chg="add">
          <ac:chgData name="Moutaz Al-Huneidi" userId="ef06bd39-2c7b-4910-9028-4578ed52836d" providerId="ADAL" clId="{F0642C68-AF30-4CBF-BE63-B9B915665008}" dt="2019-06-05T15:11:19.555" v="765"/>
          <ac:cxnSpMkLst>
            <pc:docMk/>
            <pc:sldMk cId="3860776498" sldId="280"/>
            <ac:cxnSpMk id="47" creationId="{9E5F82A0-438E-4457-81CA-BC602DE35735}"/>
          </ac:cxnSpMkLst>
        </pc:cxnChg>
        <pc:cxnChg chg="add">
          <ac:chgData name="Moutaz Al-Huneidi" userId="ef06bd39-2c7b-4910-9028-4578ed52836d" providerId="ADAL" clId="{F0642C68-AF30-4CBF-BE63-B9B915665008}" dt="2019-06-05T15:11:19.555" v="765"/>
          <ac:cxnSpMkLst>
            <pc:docMk/>
            <pc:sldMk cId="3860776498" sldId="280"/>
            <ac:cxnSpMk id="48" creationId="{76935F2D-E679-4845-BAD1-43B782346D55}"/>
          </ac:cxnSpMkLst>
        </pc:cxnChg>
        <pc:cxnChg chg="add">
          <ac:chgData name="Moutaz Al-Huneidi" userId="ef06bd39-2c7b-4910-9028-4578ed52836d" providerId="ADAL" clId="{F0642C68-AF30-4CBF-BE63-B9B915665008}" dt="2019-06-05T15:11:19.555" v="765"/>
          <ac:cxnSpMkLst>
            <pc:docMk/>
            <pc:sldMk cId="3860776498" sldId="280"/>
            <ac:cxnSpMk id="49" creationId="{4892068C-A98B-41F0-A08B-182826CC6A96}"/>
          </ac:cxnSpMkLst>
        </pc:cxnChg>
      </pc:sldChg>
      <pc:sldChg chg="addSp delSp modSp add modAnim">
        <pc:chgData name="Moutaz Al-Huneidi" userId="ef06bd39-2c7b-4910-9028-4578ed52836d" providerId="ADAL" clId="{F0642C68-AF30-4CBF-BE63-B9B915665008}" dt="2019-06-06T17:53:25.437" v="2910"/>
        <pc:sldMkLst>
          <pc:docMk/>
          <pc:sldMk cId="1089256195" sldId="281"/>
        </pc:sldMkLst>
        <pc:spChg chg="mod">
          <ac:chgData name="Moutaz Al-Huneidi" userId="ef06bd39-2c7b-4910-9028-4578ed52836d" providerId="ADAL" clId="{F0642C68-AF30-4CBF-BE63-B9B915665008}" dt="2019-06-06T15:30:54.447" v="2177" actId="20577"/>
          <ac:spMkLst>
            <pc:docMk/>
            <pc:sldMk cId="1089256195" sldId="281"/>
            <ac:spMk id="11" creationId="{2D169F72-46E2-4D12-83DC-4CED653ECCE0}"/>
          </ac:spMkLst>
        </pc:spChg>
        <pc:spChg chg="add mod">
          <ac:chgData name="Moutaz Al-Huneidi" userId="ef06bd39-2c7b-4910-9028-4578ed52836d" providerId="ADAL" clId="{F0642C68-AF30-4CBF-BE63-B9B915665008}" dt="2019-06-06T15:16:44.757" v="1874" actId="1037"/>
          <ac:spMkLst>
            <pc:docMk/>
            <pc:sldMk cId="1089256195" sldId="281"/>
            <ac:spMk id="30" creationId="{10C65700-41BE-4F6B-B4DA-484CC1C70465}"/>
          </ac:spMkLst>
        </pc:spChg>
        <pc:spChg chg="del">
          <ac:chgData name="Moutaz Al-Huneidi" userId="ef06bd39-2c7b-4910-9028-4578ed52836d" providerId="ADAL" clId="{F0642C68-AF30-4CBF-BE63-B9B915665008}" dt="2019-06-05T15:18:57.563" v="861"/>
          <ac:spMkLst>
            <pc:docMk/>
            <pc:sldMk cId="1089256195" sldId="281"/>
            <ac:spMk id="33" creationId="{76E51895-DDF1-43EA-8C35-0D790881F61F}"/>
          </ac:spMkLst>
        </pc:spChg>
        <pc:spChg chg="del">
          <ac:chgData name="Moutaz Al-Huneidi" userId="ef06bd39-2c7b-4910-9028-4578ed52836d" providerId="ADAL" clId="{F0642C68-AF30-4CBF-BE63-B9B915665008}" dt="2019-06-05T15:18:57.563" v="861"/>
          <ac:spMkLst>
            <pc:docMk/>
            <pc:sldMk cId="1089256195" sldId="281"/>
            <ac:spMk id="34" creationId="{2346B3FB-2ACE-444C-AD1E-77C674E60E14}"/>
          </ac:spMkLst>
        </pc:spChg>
        <pc:spChg chg="del">
          <ac:chgData name="Moutaz Al-Huneidi" userId="ef06bd39-2c7b-4910-9028-4578ed52836d" providerId="ADAL" clId="{F0642C68-AF30-4CBF-BE63-B9B915665008}" dt="2019-06-05T15:18:57.563" v="861"/>
          <ac:spMkLst>
            <pc:docMk/>
            <pc:sldMk cId="1089256195" sldId="281"/>
            <ac:spMk id="35" creationId="{99DF23E9-1A5A-4DB5-B325-26A9158FAA44}"/>
          </ac:spMkLst>
        </pc:spChg>
        <pc:spChg chg="del">
          <ac:chgData name="Moutaz Al-Huneidi" userId="ef06bd39-2c7b-4910-9028-4578ed52836d" providerId="ADAL" clId="{F0642C68-AF30-4CBF-BE63-B9B915665008}" dt="2019-06-05T15:18:57.563" v="861"/>
          <ac:spMkLst>
            <pc:docMk/>
            <pc:sldMk cId="1089256195" sldId="281"/>
            <ac:spMk id="36" creationId="{A4D43BC0-2D01-4E60-8D3A-38E8A6632A24}"/>
          </ac:spMkLst>
        </pc:spChg>
        <pc:spChg chg="del">
          <ac:chgData name="Moutaz Al-Huneidi" userId="ef06bd39-2c7b-4910-9028-4578ed52836d" providerId="ADAL" clId="{F0642C68-AF30-4CBF-BE63-B9B915665008}" dt="2019-06-05T15:18:57.563" v="861"/>
          <ac:spMkLst>
            <pc:docMk/>
            <pc:sldMk cId="1089256195" sldId="281"/>
            <ac:spMk id="37" creationId="{988078CF-49DD-4D33-AA58-6ED3DA2B3914}"/>
          </ac:spMkLst>
        </pc:spChg>
        <pc:spChg chg="del">
          <ac:chgData name="Moutaz Al-Huneidi" userId="ef06bd39-2c7b-4910-9028-4578ed52836d" providerId="ADAL" clId="{F0642C68-AF30-4CBF-BE63-B9B915665008}" dt="2019-06-05T15:18:57.563" v="861"/>
          <ac:spMkLst>
            <pc:docMk/>
            <pc:sldMk cId="1089256195" sldId="281"/>
            <ac:spMk id="38" creationId="{63D4221D-4F32-49EF-9570-F77A445D652F}"/>
          </ac:spMkLst>
        </pc:spChg>
        <pc:spChg chg="del">
          <ac:chgData name="Moutaz Al-Huneidi" userId="ef06bd39-2c7b-4910-9028-4578ed52836d" providerId="ADAL" clId="{F0642C68-AF30-4CBF-BE63-B9B915665008}" dt="2019-06-05T15:18:57.563" v="861"/>
          <ac:spMkLst>
            <pc:docMk/>
            <pc:sldMk cId="1089256195" sldId="281"/>
            <ac:spMk id="39" creationId="{894918B6-003D-4111-B937-D33737EDBEDA}"/>
          </ac:spMkLst>
        </pc:spChg>
        <pc:spChg chg="del">
          <ac:chgData name="Moutaz Al-Huneidi" userId="ef06bd39-2c7b-4910-9028-4578ed52836d" providerId="ADAL" clId="{F0642C68-AF30-4CBF-BE63-B9B915665008}" dt="2019-06-05T15:18:57.563" v="861"/>
          <ac:spMkLst>
            <pc:docMk/>
            <pc:sldMk cId="1089256195" sldId="281"/>
            <ac:spMk id="40" creationId="{34995370-718D-4ED7-9A10-527B88B05DD4}"/>
          </ac:spMkLst>
        </pc:spChg>
        <pc:spChg chg="del">
          <ac:chgData name="Moutaz Al-Huneidi" userId="ef06bd39-2c7b-4910-9028-4578ed52836d" providerId="ADAL" clId="{F0642C68-AF30-4CBF-BE63-B9B915665008}" dt="2019-06-05T15:18:57.563" v="861"/>
          <ac:spMkLst>
            <pc:docMk/>
            <pc:sldMk cId="1089256195" sldId="281"/>
            <ac:spMk id="41" creationId="{412EABB3-7BD0-4346-9FF2-F9FD21ADDDEA}"/>
          </ac:spMkLst>
        </pc:spChg>
        <pc:spChg chg="del mod">
          <ac:chgData name="Moutaz Al-Huneidi" userId="ef06bd39-2c7b-4910-9028-4578ed52836d" providerId="ADAL" clId="{F0642C68-AF30-4CBF-BE63-B9B915665008}" dt="2019-06-06T14:48:23.025" v="1465" actId="478"/>
          <ac:spMkLst>
            <pc:docMk/>
            <pc:sldMk cId="1089256195" sldId="281"/>
            <ac:spMk id="51" creationId="{0D294965-80D3-443D-94F7-545DE3C71F93}"/>
          </ac:spMkLst>
        </pc:spChg>
        <pc:spChg chg="del mod">
          <ac:chgData name="Moutaz Al-Huneidi" userId="ef06bd39-2c7b-4910-9028-4578ed52836d" providerId="ADAL" clId="{F0642C68-AF30-4CBF-BE63-B9B915665008}" dt="2019-06-06T14:48:23.025" v="1465" actId="478"/>
          <ac:spMkLst>
            <pc:docMk/>
            <pc:sldMk cId="1089256195" sldId="281"/>
            <ac:spMk id="52" creationId="{145F5193-08A4-4FC5-9E33-5A4AAE8E97CB}"/>
          </ac:spMkLst>
        </pc:spChg>
        <pc:spChg chg="del mod">
          <ac:chgData name="Moutaz Al-Huneidi" userId="ef06bd39-2c7b-4910-9028-4578ed52836d" providerId="ADAL" clId="{F0642C68-AF30-4CBF-BE63-B9B915665008}" dt="2019-06-06T14:48:23.025" v="1465" actId="478"/>
          <ac:spMkLst>
            <pc:docMk/>
            <pc:sldMk cId="1089256195" sldId="281"/>
            <ac:spMk id="53" creationId="{5B4B1AE8-368B-4170-8002-B7EAC777B279}"/>
          </ac:spMkLst>
        </pc:spChg>
        <pc:spChg chg="del mod">
          <ac:chgData name="Moutaz Al-Huneidi" userId="ef06bd39-2c7b-4910-9028-4578ed52836d" providerId="ADAL" clId="{F0642C68-AF30-4CBF-BE63-B9B915665008}" dt="2019-06-06T14:48:23.025" v="1465" actId="478"/>
          <ac:spMkLst>
            <pc:docMk/>
            <pc:sldMk cId="1089256195" sldId="281"/>
            <ac:spMk id="54" creationId="{5A7FCA49-8B51-4385-8374-3E35CF840C07}"/>
          </ac:spMkLst>
        </pc:spChg>
        <pc:spChg chg="del mod">
          <ac:chgData name="Moutaz Al-Huneidi" userId="ef06bd39-2c7b-4910-9028-4578ed52836d" providerId="ADAL" clId="{F0642C68-AF30-4CBF-BE63-B9B915665008}" dt="2019-06-06T14:48:23.025" v="1465" actId="478"/>
          <ac:spMkLst>
            <pc:docMk/>
            <pc:sldMk cId="1089256195" sldId="281"/>
            <ac:spMk id="55" creationId="{3C08838C-9C1A-42B3-8B58-8F9961CD71C2}"/>
          </ac:spMkLst>
        </pc:spChg>
        <pc:spChg chg="del mod">
          <ac:chgData name="Moutaz Al-Huneidi" userId="ef06bd39-2c7b-4910-9028-4578ed52836d" providerId="ADAL" clId="{F0642C68-AF30-4CBF-BE63-B9B915665008}" dt="2019-06-06T14:48:23.025" v="1465" actId="478"/>
          <ac:spMkLst>
            <pc:docMk/>
            <pc:sldMk cId="1089256195" sldId="281"/>
            <ac:spMk id="56" creationId="{4DB80594-5A68-461F-9ECA-068895EDD447}"/>
          </ac:spMkLst>
        </pc:spChg>
        <pc:spChg chg="del mod">
          <ac:chgData name="Moutaz Al-Huneidi" userId="ef06bd39-2c7b-4910-9028-4578ed52836d" providerId="ADAL" clId="{F0642C68-AF30-4CBF-BE63-B9B915665008}" dt="2019-06-06T14:48:23.025" v="1465" actId="478"/>
          <ac:spMkLst>
            <pc:docMk/>
            <pc:sldMk cId="1089256195" sldId="281"/>
            <ac:spMk id="57" creationId="{AAD5BD21-0727-484E-9844-E7F7CA4F01F5}"/>
          </ac:spMkLst>
        </pc:spChg>
        <pc:spChg chg="del mod">
          <ac:chgData name="Moutaz Al-Huneidi" userId="ef06bd39-2c7b-4910-9028-4578ed52836d" providerId="ADAL" clId="{F0642C68-AF30-4CBF-BE63-B9B915665008}" dt="2019-06-06T14:48:23.025" v="1465" actId="478"/>
          <ac:spMkLst>
            <pc:docMk/>
            <pc:sldMk cId="1089256195" sldId="281"/>
            <ac:spMk id="58" creationId="{05D88343-8C61-45C7-B709-4E52DB751AD5}"/>
          </ac:spMkLst>
        </pc:spChg>
        <pc:spChg chg="del mod">
          <ac:chgData name="Moutaz Al-Huneidi" userId="ef06bd39-2c7b-4910-9028-4578ed52836d" providerId="ADAL" clId="{F0642C68-AF30-4CBF-BE63-B9B915665008}" dt="2019-06-06T14:48:23.025" v="1465" actId="478"/>
          <ac:spMkLst>
            <pc:docMk/>
            <pc:sldMk cId="1089256195" sldId="281"/>
            <ac:spMk id="59" creationId="{84BFC55F-4C22-4D7D-8072-BFB9139728AB}"/>
          </ac:spMkLst>
        </pc:spChg>
        <pc:spChg chg="del mod">
          <ac:chgData name="Moutaz Al-Huneidi" userId="ef06bd39-2c7b-4910-9028-4578ed52836d" providerId="ADAL" clId="{F0642C68-AF30-4CBF-BE63-B9B915665008}" dt="2019-06-06T14:48:23.025" v="1465" actId="478"/>
          <ac:spMkLst>
            <pc:docMk/>
            <pc:sldMk cId="1089256195" sldId="281"/>
            <ac:spMk id="60" creationId="{CDCD0A46-2506-4E11-BB70-7C9168E05DB0}"/>
          </ac:spMkLst>
        </pc:spChg>
        <pc:spChg chg="del mod">
          <ac:chgData name="Moutaz Al-Huneidi" userId="ef06bd39-2c7b-4910-9028-4578ed52836d" providerId="ADAL" clId="{F0642C68-AF30-4CBF-BE63-B9B915665008}" dt="2019-06-06T14:48:23.025" v="1465" actId="478"/>
          <ac:spMkLst>
            <pc:docMk/>
            <pc:sldMk cId="1089256195" sldId="281"/>
            <ac:spMk id="61" creationId="{8E84FC9B-7830-49B4-BD88-8FED011421C0}"/>
          </ac:spMkLst>
        </pc:spChg>
        <pc:spChg chg="del mod">
          <ac:chgData name="Moutaz Al-Huneidi" userId="ef06bd39-2c7b-4910-9028-4578ed52836d" providerId="ADAL" clId="{F0642C68-AF30-4CBF-BE63-B9B915665008}" dt="2019-06-06T14:48:23.025" v="1465" actId="478"/>
          <ac:spMkLst>
            <pc:docMk/>
            <pc:sldMk cId="1089256195" sldId="281"/>
            <ac:spMk id="62" creationId="{BC9F4F78-CCAC-48A6-946C-857BD31C32C3}"/>
          </ac:spMkLst>
        </pc:spChg>
        <pc:spChg chg="del mod">
          <ac:chgData name="Moutaz Al-Huneidi" userId="ef06bd39-2c7b-4910-9028-4578ed52836d" providerId="ADAL" clId="{F0642C68-AF30-4CBF-BE63-B9B915665008}" dt="2019-06-06T14:48:23.025" v="1465" actId="478"/>
          <ac:spMkLst>
            <pc:docMk/>
            <pc:sldMk cId="1089256195" sldId="281"/>
            <ac:spMk id="63" creationId="{5F4688CA-22BF-4877-8356-9FA9BC2F60C0}"/>
          </ac:spMkLst>
        </pc:spChg>
        <pc:spChg chg="del mod">
          <ac:chgData name="Moutaz Al-Huneidi" userId="ef06bd39-2c7b-4910-9028-4578ed52836d" providerId="ADAL" clId="{F0642C68-AF30-4CBF-BE63-B9B915665008}" dt="2019-06-06T14:48:23.025" v="1465" actId="478"/>
          <ac:spMkLst>
            <pc:docMk/>
            <pc:sldMk cId="1089256195" sldId="281"/>
            <ac:spMk id="64" creationId="{2967CACD-C2D0-4DB5-B193-7563323C1EFB}"/>
          </ac:spMkLst>
        </pc:spChg>
        <pc:spChg chg="del mod">
          <ac:chgData name="Moutaz Al-Huneidi" userId="ef06bd39-2c7b-4910-9028-4578ed52836d" providerId="ADAL" clId="{F0642C68-AF30-4CBF-BE63-B9B915665008}" dt="2019-06-06T14:48:23.025" v="1465" actId="478"/>
          <ac:spMkLst>
            <pc:docMk/>
            <pc:sldMk cId="1089256195" sldId="281"/>
            <ac:spMk id="65" creationId="{B5CB0E8E-0EB0-4141-91C4-5E351F33885C}"/>
          </ac:spMkLst>
        </pc:spChg>
        <pc:spChg chg="del mod">
          <ac:chgData name="Moutaz Al-Huneidi" userId="ef06bd39-2c7b-4910-9028-4578ed52836d" providerId="ADAL" clId="{F0642C68-AF30-4CBF-BE63-B9B915665008}" dt="2019-06-06T14:48:23.025" v="1465" actId="478"/>
          <ac:spMkLst>
            <pc:docMk/>
            <pc:sldMk cId="1089256195" sldId="281"/>
            <ac:spMk id="66" creationId="{47CDDC17-5A31-47C1-BE27-9FB1AA209CA2}"/>
          </ac:spMkLst>
        </pc:spChg>
        <pc:spChg chg="del mod">
          <ac:chgData name="Moutaz Al-Huneidi" userId="ef06bd39-2c7b-4910-9028-4578ed52836d" providerId="ADAL" clId="{F0642C68-AF30-4CBF-BE63-B9B915665008}" dt="2019-06-06T14:48:23.025" v="1465" actId="478"/>
          <ac:spMkLst>
            <pc:docMk/>
            <pc:sldMk cId="1089256195" sldId="281"/>
            <ac:spMk id="67" creationId="{C33F5C8E-45A6-4A40-A08F-AAD4CA8369E9}"/>
          </ac:spMkLst>
        </pc:spChg>
        <pc:spChg chg="del">
          <ac:chgData name="Moutaz Al-Huneidi" userId="ef06bd39-2c7b-4910-9028-4578ed52836d" providerId="ADAL" clId="{F0642C68-AF30-4CBF-BE63-B9B915665008}" dt="2019-06-05T15:19:00.141" v="862" actId="478"/>
          <ac:spMkLst>
            <pc:docMk/>
            <pc:sldMk cId="1089256195" sldId="281"/>
            <ac:spMk id="68" creationId="{E23099BE-7300-44E0-A97B-2F20859F7A98}"/>
          </ac:spMkLst>
        </pc:spChg>
        <pc:spChg chg="del">
          <ac:chgData name="Moutaz Al-Huneidi" userId="ef06bd39-2c7b-4910-9028-4578ed52836d" providerId="ADAL" clId="{F0642C68-AF30-4CBF-BE63-B9B915665008}" dt="2019-06-05T15:18:57.563" v="861"/>
          <ac:spMkLst>
            <pc:docMk/>
            <pc:sldMk cId="1089256195" sldId="281"/>
            <ac:spMk id="69" creationId="{22116B3E-DB1D-4E03-9935-69EFC24A844E}"/>
          </ac:spMkLst>
        </pc:spChg>
        <pc:spChg chg="del mod">
          <ac:chgData name="Moutaz Al-Huneidi" userId="ef06bd39-2c7b-4910-9028-4578ed52836d" providerId="ADAL" clId="{F0642C68-AF30-4CBF-BE63-B9B915665008}" dt="2019-06-06T14:48:23.025" v="1465" actId="478"/>
          <ac:spMkLst>
            <pc:docMk/>
            <pc:sldMk cId="1089256195" sldId="281"/>
            <ac:spMk id="70" creationId="{C801A103-76A0-43BE-A0E4-64F540B6AAD5}"/>
          </ac:spMkLst>
        </pc:spChg>
        <pc:spChg chg="del mod">
          <ac:chgData name="Moutaz Al-Huneidi" userId="ef06bd39-2c7b-4910-9028-4578ed52836d" providerId="ADAL" clId="{F0642C68-AF30-4CBF-BE63-B9B915665008}" dt="2019-06-06T14:48:23.025" v="1465" actId="478"/>
          <ac:spMkLst>
            <pc:docMk/>
            <pc:sldMk cId="1089256195" sldId="281"/>
            <ac:spMk id="71" creationId="{64368B3A-33A3-4E09-9720-1229307E8590}"/>
          </ac:spMkLst>
        </pc:spChg>
        <pc:spChg chg="del mod">
          <ac:chgData name="Moutaz Al-Huneidi" userId="ef06bd39-2c7b-4910-9028-4578ed52836d" providerId="ADAL" clId="{F0642C68-AF30-4CBF-BE63-B9B915665008}" dt="2019-06-06T14:48:28.802" v="1468" actId="478"/>
          <ac:spMkLst>
            <pc:docMk/>
            <pc:sldMk cId="1089256195" sldId="281"/>
            <ac:spMk id="72" creationId="{08991A41-8E5F-405A-95F0-D7937CD884DC}"/>
          </ac:spMkLst>
        </pc:spChg>
        <pc:spChg chg="del mod">
          <ac:chgData name="Moutaz Al-Huneidi" userId="ef06bd39-2c7b-4910-9028-4578ed52836d" providerId="ADAL" clId="{F0642C68-AF30-4CBF-BE63-B9B915665008}" dt="2019-06-05T21:51:39.660" v="986" actId="478"/>
          <ac:spMkLst>
            <pc:docMk/>
            <pc:sldMk cId="1089256195" sldId="281"/>
            <ac:spMk id="73" creationId="{7E695ED1-87B1-4BEC-AC54-F2941550E1CA}"/>
          </ac:spMkLst>
        </pc:spChg>
        <pc:spChg chg="add mod">
          <ac:chgData name="Moutaz Al-Huneidi" userId="ef06bd39-2c7b-4910-9028-4578ed52836d" providerId="ADAL" clId="{F0642C68-AF30-4CBF-BE63-B9B915665008}" dt="2019-06-06T15:16:44.757" v="1874" actId="1037"/>
          <ac:spMkLst>
            <pc:docMk/>
            <pc:sldMk cId="1089256195" sldId="281"/>
            <ac:spMk id="78" creationId="{E221BDC5-50C4-4F6C-B0CC-3EC8C9CEC13C}"/>
          </ac:spMkLst>
        </pc:spChg>
        <pc:spChg chg="add mod">
          <ac:chgData name="Moutaz Al-Huneidi" userId="ef06bd39-2c7b-4910-9028-4578ed52836d" providerId="ADAL" clId="{F0642C68-AF30-4CBF-BE63-B9B915665008}" dt="2019-06-06T15:16:44.757" v="1874" actId="1037"/>
          <ac:spMkLst>
            <pc:docMk/>
            <pc:sldMk cId="1089256195" sldId="281"/>
            <ac:spMk id="79" creationId="{A8968AEB-DE8E-40E4-BEAB-03A2523BB4CF}"/>
          </ac:spMkLst>
        </pc:spChg>
        <pc:spChg chg="add mod">
          <ac:chgData name="Moutaz Al-Huneidi" userId="ef06bd39-2c7b-4910-9028-4578ed52836d" providerId="ADAL" clId="{F0642C68-AF30-4CBF-BE63-B9B915665008}" dt="2019-06-06T15:16:44.757" v="1874" actId="1037"/>
          <ac:spMkLst>
            <pc:docMk/>
            <pc:sldMk cId="1089256195" sldId="281"/>
            <ac:spMk id="80" creationId="{FC7F806A-8C18-4809-8CF4-79AEE5CA912C}"/>
          </ac:spMkLst>
        </pc:spChg>
        <pc:spChg chg="add mod">
          <ac:chgData name="Moutaz Al-Huneidi" userId="ef06bd39-2c7b-4910-9028-4578ed52836d" providerId="ADAL" clId="{F0642C68-AF30-4CBF-BE63-B9B915665008}" dt="2019-06-06T17:48:38.380" v="2830" actId="1076"/>
          <ac:spMkLst>
            <pc:docMk/>
            <pc:sldMk cId="1089256195" sldId="281"/>
            <ac:spMk id="81" creationId="{27F15ED2-150E-4825-9B3A-452F46645FDD}"/>
          </ac:spMkLst>
        </pc:spChg>
        <pc:spChg chg="add mod">
          <ac:chgData name="Moutaz Al-Huneidi" userId="ef06bd39-2c7b-4910-9028-4578ed52836d" providerId="ADAL" clId="{F0642C68-AF30-4CBF-BE63-B9B915665008}" dt="2019-06-06T15:16:44.757" v="1874" actId="1037"/>
          <ac:spMkLst>
            <pc:docMk/>
            <pc:sldMk cId="1089256195" sldId="281"/>
            <ac:spMk id="82" creationId="{61FD5F04-1A34-43E9-AEF3-4E200FA0FFBD}"/>
          </ac:spMkLst>
        </pc:spChg>
        <pc:spChg chg="add mod">
          <ac:chgData name="Moutaz Al-Huneidi" userId="ef06bd39-2c7b-4910-9028-4578ed52836d" providerId="ADAL" clId="{F0642C68-AF30-4CBF-BE63-B9B915665008}" dt="2019-06-06T15:16:44.757" v="1874" actId="1037"/>
          <ac:spMkLst>
            <pc:docMk/>
            <pc:sldMk cId="1089256195" sldId="281"/>
            <ac:spMk id="83" creationId="{242A5AC3-9FA9-4721-81F3-35F0AAAD96BB}"/>
          </ac:spMkLst>
        </pc:spChg>
        <pc:spChg chg="add mod">
          <ac:chgData name="Moutaz Al-Huneidi" userId="ef06bd39-2c7b-4910-9028-4578ed52836d" providerId="ADAL" clId="{F0642C68-AF30-4CBF-BE63-B9B915665008}" dt="2019-06-06T15:16:44.757" v="1874" actId="1037"/>
          <ac:spMkLst>
            <pc:docMk/>
            <pc:sldMk cId="1089256195" sldId="281"/>
            <ac:spMk id="84" creationId="{9103DAEA-ECC8-4360-BB8C-F275ADAB62F6}"/>
          </ac:spMkLst>
        </pc:spChg>
        <pc:spChg chg="add mod">
          <ac:chgData name="Moutaz Al-Huneidi" userId="ef06bd39-2c7b-4910-9028-4578ed52836d" providerId="ADAL" clId="{F0642C68-AF30-4CBF-BE63-B9B915665008}" dt="2019-06-06T15:22:44.636" v="2145" actId="207"/>
          <ac:spMkLst>
            <pc:docMk/>
            <pc:sldMk cId="1089256195" sldId="281"/>
            <ac:spMk id="92" creationId="{952E1E40-D934-4B47-A235-976C102BCFCB}"/>
          </ac:spMkLst>
        </pc:spChg>
        <pc:spChg chg="add mod">
          <ac:chgData name="Moutaz Al-Huneidi" userId="ef06bd39-2c7b-4910-9028-4578ed52836d" providerId="ADAL" clId="{F0642C68-AF30-4CBF-BE63-B9B915665008}" dt="2019-06-06T15:22:32.674" v="2144" actId="1038"/>
          <ac:spMkLst>
            <pc:docMk/>
            <pc:sldMk cId="1089256195" sldId="281"/>
            <ac:spMk id="93" creationId="{99F42935-C2C1-4F7D-8591-3F7E9965EA52}"/>
          </ac:spMkLst>
        </pc:spChg>
        <pc:spChg chg="add mod">
          <ac:chgData name="Moutaz Al-Huneidi" userId="ef06bd39-2c7b-4910-9028-4578ed52836d" providerId="ADAL" clId="{F0642C68-AF30-4CBF-BE63-B9B915665008}" dt="2019-06-06T15:22:32.674" v="2144" actId="1038"/>
          <ac:spMkLst>
            <pc:docMk/>
            <pc:sldMk cId="1089256195" sldId="281"/>
            <ac:spMk id="94" creationId="{500D7FC0-F9BC-421D-9666-4A9CF0E3D202}"/>
          </ac:spMkLst>
        </pc:spChg>
        <pc:spChg chg="add mod">
          <ac:chgData name="Moutaz Al-Huneidi" userId="ef06bd39-2c7b-4910-9028-4578ed52836d" providerId="ADAL" clId="{F0642C68-AF30-4CBF-BE63-B9B915665008}" dt="2019-06-06T17:49:33.175" v="2889" actId="207"/>
          <ac:spMkLst>
            <pc:docMk/>
            <pc:sldMk cId="1089256195" sldId="281"/>
            <ac:spMk id="102" creationId="{DEE67A24-489A-4593-BFE8-CB014A85C17F}"/>
          </ac:spMkLst>
        </pc:spChg>
        <pc:graphicFrameChg chg="del">
          <ac:chgData name="Moutaz Al-Huneidi" userId="ef06bd39-2c7b-4910-9028-4578ed52836d" providerId="ADAL" clId="{F0642C68-AF30-4CBF-BE63-B9B915665008}" dt="2019-06-05T15:18:57.563" v="861"/>
          <ac:graphicFrameMkLst>
            <pc:docMk/>
            <pc:sldMk cId="1089256195" sldId="281"/>
            <ac:graphicFrameMk id="32" creationId="{33C7C921-AABA-4536-8BC1-D79FF328B547}"/>
          </ac:graphicFrameMkLst>
        </pc:graphicFrameChg>
        <pc:graphicFrameChg chg="del mod">
          <ac:chgData name="Moutaz Al-Huneidi" userId="ef06bd39-2c7b-4910-9028-4578ed52836d" providerId="ADAL" clId="{F0642C68-AF30-4CBF-BE63-B9B915665008}" dt="2019-06-06T14:48:23.025" v="1465" actId="478"/>
          <ac:graphicFrameMkLst>
            <pc:docMk/>
            <pc:sldMk cId="1089256195" sldId="281"/>
            <ac:graphicFrameMk id="50" creationId="{1C45D7ED-6EB5-474D-828C-23724B923195}"/>
          </ac:graphicFrameMkLst>
        </pc:graphicFrameChg>
        <pc:picChg chg="add mod">
          <ac:chgData name="Moutaz Al-Huneidi" userId="ef06bd39-2c7b-4910-9028-4578ed52836d" providerId="ADAL" clId="{F0642C68-AF30-4CBF-BE63-B9B915665008}" dt="2019-06-06T15:16:44.757" v="1874" actId="1037"/>
          <ac:picMkLst>
            <pc:docMk/>
            <pc:sldMk cId="1089256195" sldId="281"/>
            <ac:picMk id="3" creationId="{5BF054EF-AA4F-4D7B-801D-4A0AA75560FE}"/>
          </ac:picMkLst>
        </pc:picChg>
        <pc:picChg chg="add mod">
          <ac:chgData name="Moutaz Al-Huneidi" userId="ef06bd39-2c7b-4910-9028-4578ed52836d" providerId="ADAL" clId="{F0642C68-AF30-4CBF-BE63-B9B915665008}" dt="2019-06-06T15:16:44.757" v="1874" actId="1037"/>
          <ac:picMkLst>
            <pc:docMk/>
            <pc:sldMk cId="1089256195" sldId="281"/>
            <ac:picMk id="7" creationId="{A5F9225E-5B88-4F3E-8840-732309FE7CF7}"/>
          </ac:picMkLst>
        </pc:picChg>
        <pc:picChg chg="add mod">
          <ac:chgData name="Moutaz Al-Huneidi" userId="ef06bd39-2c7b-4910-9028-4578ed52836d" providerId="ADAL" clId="{F0642C68-AF30-4CBF-BE63-B9B915665008}" dt="2019-06-06T15:16:44.757" v="1874" actId="1037"/>
          <ac:picMkLst>
            <pc:docMk/>
            <pc:sldMk cId="1089256195" sldId="281"/>
            <ac:picMk id="16" creationId="{95955C6A-6732-4345-853C-B139B6489C28}"/>
          </ac:picMkLst>
        </pc:picChg>
        <pc:picChg chg="add mod">
          <ac:chgData name="Moutaz Al-Huneidi" userId="ef06bd39-2c7b-4910-9028-4578ed52836d" providerId="ADAL" clId="{F0642C68-AF30-4CBF-BE63-B9B915665008}" dt="2019-06-06T15:16:44.757" v="1874" actId="1037"/>
          <ac:picMkLst>
            <pc:docMk/>
            <pc:sldMk cId="1089256195" sldId="281"/>
            <ac:picMk id="18" creationId="{1B771EF9-7086-4DB6-B539-5ABEE3158BB9}"/>
          </ac:picMkLst>
        </pc:picChg>
        <pc:picChg chg="add mod">
          <ac:chgData name="Moutaz Al-Huneidi" userId="ef06bd39-2c7b-4910-9028-4578ed52836d" providerId="ADAL" clId="{F0642C68-AF30-4CBF-BE63-B9B915665008}" dt="2019-06-06T15:16:44.757" v="1874" actId="1037"/>
          <ac:picMkLst>
            <pc:docMk/>
            <pc:sldMk cId="1089256195" sldId="281"/>
            <ac:picMk id="29" creationId="{AFA60BA0-02A0-4CB7-A090-48D2B44B12BD}"/>
          </ac:picMkLst>
        </pc:picChg>
        <pc:picChg chg="add mod">
          <ac:chgData name="Moutaz Al-Huneidi" userId="ef06bd39-2c7b-4910-9028-4578ed52836d" providerId="ADAL" clId="{F0642C68-AF30-4CBF-BE63-B9B915665008}" dt="2019-06-06T15:22:50.206" v="2146" actId="207"/>
          <ac:picMkLst>
            <pc:docMk/>
            <pc:sldMk cId="1089256195" sldId="281"/>
            <ac:picMk id="34" creationId="{4B65ECF5-A0B5-41A0-80BB-67BB47F43FCF}"/>
          </ac:picMkLst>
        </pc:picChg>
        <pc:picChg chg="add mod">
          <ac:chgData name="Moutaz Al-Huneidi" userId="ef06bd39-2c7b-4910-9028-4578ed52836d" providerId="ADAL" clId="{F0642C68-AF30-4CBF-BE63-B9B915665008}" dt="2019-06-06T15:22:50.206" v="2146" actId="207"/>
          <ac:picMkLst>
            <pc:docMk/>
            <pc:sldMk cId="1089256195" sldId="281"/>
            <ac:picMk id="36" creationId="{A64AA408-8415-4585-A4D4-4D8106DE35F1}"/>
          </ac:picMkLst>
        </pc:picChg>
        <pc:picChg chg="add mod">
          <ac:chgData name="Moutaz Al-Huneidi" userId="ef06bd39-2c7b-4910-9028-4578ed52836d" providerId="ADAL" clId="{F0642C68-AF30-4CBF-BE63-B9B915665008}" dt="2019-06-06T15:22:50.206" v="2146" actId="207"/>
          <ac:picMkLst>
            <pc:docMk/>
            <pc:sldMk cId="1089256195" sldId="281"/>
            <ac:picMk id="38" creationId="{7D2DD76F-EC61-42DB-8905-78CD39E877D9}"/>
          </ac:picMkLst>
        </pc:picChg>
        <pc:picChg chg="add mod">
          <ac:chgData name="Moutaz Al-Huneidi" userId="ef06bd39-2c7b-4910-9028-4578ed52836d" providerId="ADAL" clId="{F0642C68-AF30-4CBF-BE63-B9B915665008}" dt="2019-06-06T15:16:44.757" v="1874" actId="1037"/>
          <ac:picMkLst>
            <pc:docMk/>
            <pc:sldMk cId="1089256195" sldId="281"/>
            <ac:picMk id="39" creationId="{E63409D5-3789-4C46-8262-54CB787E702B}"/>
          </ac:picMkLst>
        </pc:picChg>
        <pc:picChg chg="add mod">
          <ac:chgData name="Moutaz Al-Huneidi" userId="ef06bd39-2c7b-4910-9028-4578ed52836d" providerId="ADAL" clId="{F0642C68-AF30-4CBF-BE63-B9B915665008}" dt="2019-06-06T15:16:44.757" v="1874" actId="1037"/>
          <ac:picMkLst>
            <pc:docMk/>
            <pc:sldMk cId="1089256195" sldId="281"/>
            <ac:picMk id="76" creationId="{BA4BC411-8E75-4C00-86F2-085AEBC4271F}"/>
          </ac:picMkLst>
        </pc:picChg>
        <pc:picChg chg="add mod">
          <ac:chgData name="Moutaz Al-Huneidi" userId="ef06bd39-2c7b-4910-9028-4578ed52836d" providerId="ADAL" clId="{F0642C68-AF30-4CBF-BE63-B9B915665008}" dt="2019-06-06T15:16:44.757" v="1874" actId="1037"/>
          <ac:picMkLst>
            <pc:docMk/>
            <pc:sldMk cId="1089256195" sldId="281"/>
            <ac:picMk id="77" creationId="{C81DF9D5-1280-40D2-9A1F-57F05F4DDC61}"/>
          </ac:picMkLst>
        </pc:picChg>
        <pc:picChg chg="add mod">
          <ac:chgData name="Moutaz Al-Huneidi" userId="ef06bd39-2c7b-4910-9028-4578ed52836d" providerId="ADAL" clId="{F0642C68-AF30-4CBF-BE63-B9B915665008}" dt="2019-06-06T15:23:22.052" v="2151" actId="1076"/>
          <ac:picMkLst>
            <pc:docMk/>
            <pc:sldMk cId="1089256195" sldId="281"/>
            <ac:picMk id="99" creationId="{B80166B9-C21A-45B3-AC80-AAB36E328A26}"/>
          </ac:picMkLst>
        </pc:picChg>
        <pc:picChg chg="add mod">
          <ac:chgData name="Moutaz Al-Huneidi" userId="ef06bd39-2c7b-4910-9028-4578ed52836d" providerId="ADAL" clId="{F0642C68-AF30-4CBF-BE63-B9B915665008}" dt="2019-06-06T15:23:34.017" v="2154" actId="1076"/>
          <ac:picMkLst>
            <pc:docMk/>
            <pc:sldMk cId="1089256195" sldId="281"/>
            <ac:picMk id="100" creationId="{AA2175F5-CD82-416A-9CC3-24248A9ACD11}"/>
          </ac:picMkLst>
        </pc:picChg>
        <pc:picChg chg="add mod">
          <ac:chgData name="Moutaz Al-Huneidi" userId="ef06bd39-2c7b-4910-9028-4578ed52836d" providerId="ADAL" clId="{F0642C68-AF30-4CBF-BE63-B9B915665008}" dt="2019-06-06T15:23:39.098" v="2156" actId="1076"/>
          <ac:picMkLst>
            <pc:docMk/>
            <pc:sldMk cId="1089256195" sldId="281"/>
            <ac:picMk id="101" creationId="{5FF190DF-6824-4299-80C6-711C8F36A936}"/>
          </ac:picMkLst>
        </pc:picChg>
        <pc:cxnChg chg="mod">
          <ac:chgData name="Moutaz Al-Huneidi" userId="ef06bd39-2c7b-4910-9028-4578ed52836d" providerId="ADAL" clId="{F0642C68-AF30-4CBF-BE63-B9B915665008}" dt="2019-06-06T17:47:55.706" v="2826" actId="1076"/>
          <ac:cxnSpMkLst>
            <pc:docMk/>
            <pc:sldMk cId="1089256195" sldId="281"/>
            <ac:cxnSpMk id="5" creationId="{5CA1AE3F-710F-4A48-B30C-A0EBB7F24920}"/>
          </ac:cxnSpMkLst>
        </pc:cxnChg>
        <pc:cxnChg chg="add mod">
          <ac:chgData name="Moutaz Al-Huneidi" userId="ef06bd39-2c7b-4910-9028-4578ed52836d" providerId="ADAL" clId="{F0642C68-AF30-4CBF-BE63-B9B915665008}" dt="2019-06-06T15:16:44.757" v="1874" actId="1037"/>
          <ac:cxnSpMkLst>
            <pc:docMk/>
            <pc:sldMk cId="1089256195" sldId="281"/>
            <ac:cxnSpMk id="9" creationId="{73CCD842-FF91-4A2A-B0CE-EEED3F36AF0D}"/>
          </ac:cxnSpMkLst>
        </pc:cxnChg>
        <pc:cxnChg chg="del">
          <ac:chgData name="Moutaz Al-Huneidi" userId="ef06bd39-2c7b-4910-9028-4578ed52836d" providerId="ADAL" clId="{F0642C68-AF30-4CBF-BE63-B9B915665008}" dt="2019-06-05T15:18:57.563" v="861"/>
          <ac:cxnSpMkLst>
            <pc:docMk/>
            <pc:sldMk cId="1089256195" sldId="281"/>
            <ac:cxnSpMk id="23" creationId="{17FAABF1-BA90-4239-905A-7392E2E00861}"/>
          </ac:cxnSpMkLst>
        </pc:cxnChg>
        <pc:cxnChg chg="add mod">
          <ac:chgData name="Moutaz Al-Huneidi" userId="ef06bd39-2c7b-4910-9028-4578ed52836d" providerId="ADAL" clId="{F0642C68-AF30-4CBF-BE63-B9B915665008}" dt="2019-06-06T15:16:44.757" v="1874" actId="1037"/>
          <ac:cxnSpMkLst>
            <pc:docMk/>
            <pc:sldMk cId="1089256195" sldId="281"/>
            <ac:cxnSpMk id="23" creationId="{EC635069-AB1C-442C-AE64-76786CA2B098}"/>
          </ac:cxnSpMkLst>
        </pc:cxnChg>
        <pc:cxnChg chg="del">
          <ac:chgData name="Moutaz Al-Huneidi" userId="ef06bd39-2c7b-4910-9028-4578ed52836d" providerId="ADAL" clId="{F0642C68-AF30-4CBF-BE63-B9B915665008}" dt="2019-06-05T15:18:57.563" v="861"/>
          <ac:cxnSpMkLst>
            <pc:docMk/>
            <pc:sldMk cId="1089256195" sldId="281"/>
            <ac:cxnSpMk id="24" creationId="{3B83B070-01B8-4282-9AC6-891DE1F3D2E4}"/>
          </ac:cxnSpMkLst>
        </pc:cxnChg>
        <pc:cxnChg chg="del">
          <ac:chgData name="Moutaz Al-Huneidi" userId="ef06bd39-2c7b-4910-9028-4578ed52836d" providerId="ADAL" clId="{F0642C68-AF30-4CBF-BE63-B9B915665008}" dt="2019-06-05T15:18:57.563" v="861"/>
          <ac:cxnSpMkLst>
            <pc:docMk/>
            <pc:sldMk cId="1089256195" sldId="281"/>
            <ac:cxnSpMk id="25" creationId="{7390137B-7AC1-4F78-A062-540D7341FBB6}"/>
          </ac:cxnSpMkLst>
        </pc:cxnChg>
        <pc:cxnChg chg="del">
          <ac:chgData name="Moutaz Al-Huneidi" userId="ef06bd39-2c7b-4910-9028-4578ed52836d" providerId="ADAL" clId="{F0642C68-AF30-4CBF-BE63-B9B915665008}" dt="2019-06-05T15:18:57.563" v="861"/>
          <ac:cxnSpMkLst>
            <pc:docMk/>
            <pc:sldMk cId="1089256195" sldId="281"/>
            <ac:cxnSpMk id="26" creationId="{88F23AB5-5137-4A8D-B57E-AF62B992D160}"/>
          </ac:cxnSpMkLst>
        </pc:cxnChg>
        <pc:cxnChg chg="add mod">
          <ac:chgData name="Moutaz Al-Huneidi" userId="ef06bd39-2c7b-4910-9028-4578ed52836d" providerId="ADAL" clId="{F0642C68-AF30-4CBF-BE63-B9B915665008}" dt="2019-06-06T15:16:44.757" v="1874" actId="1037"/>
          <ac:cxnSpMkLst>
            <pc:docMk/>
            <pc:sldMk cId="1089256195" sldId="281"/>
            <ac:cxnSpMk id="27" creationId="{6B58E29F-638E-4B2D-9EDD-853CDA5EDB5A}"/>
          </ac:cxnSpMkLst>
        </pc:cxnChg>
        <pc:cxnChg chg="del">
          <ac:chgData name="Moutaz Al-Huneidi" userId="ef06bd39-2c7b-4910-9028-4578ed52836d" providerId="ADAL" clId="{F0642C68-AF30-4CBF-BE63-B9B915665008}" dt="2019-06-05T15:18:57.563" v="861"/>
          <ac:cxnSpMkLst>
            <pc:docMk/>
            <pc:sldMk cId="1089256195" sldId="281"/>
            <ac:cxnSpMk id="27" creationId="{FF0A5FE7-12BB-4F06-9607-F4BB5C2F024F}"/>
          </ac:cxnSpMkLst>
        </pc:cxnChg>
        <pc:cxnChg chg="del">
          <ac:chgData name="Moutaz Al-Huneidi" userId="ef06bd39-2c7b-4910-9028-4578ed52836d" providerId="ADAL" clId="{F0642C68-AF30-4CBF-BE63-B9B915665008}" dt="2019-06-05T15:18:57.563" v="861"/>
          <ac:cxnSpMkLst>
            <pc:docMk/>
            <pc:sldMk cId="1089256195" sldId="281"/>
            <ac:cxnSpMk id="28" creationId="{8120FB07-9254-4F38-843D-1E4E84E5F188}"/>
          </ac:cxnSpMkLst>
        </pc:cxnChg>
        <pc:cxnChg chg="del">
          <ac:chgData name="Moutaz Al-Huneidi" userId="ef06bd39-2c7b-4910-9028-4578ed52836d" providerId="ADAL" clId="{F0642C68-AF30-4CBF-BE63-B9B915665008}" dt="2019-06-05T15:18:57.563" v="861"/>
          <ac:cxnSpMkLst>
            <pc:docMk/>
            <pc:sldMk cId="1089256195" sldId="281"/>
            <ac:cxnSpMk id="29" creationId="{BF8488B2-ED19-4AA6-9056-E8A5B91BF012}"/>
          </ac:cxnSpMkLst>
        </pc:cxnChg>
        <pc:cxnChg chg="del">
          <ac:chgData name="Moutaz Al-Huneidi" userId="ef06bd39-2c7b-4910-9028-4578ed52836d" providerId="ADAL" clId="{F0642C68-AF30-4CBF-BE63-B9B915665008}" dt="2019-06-05T15:18:57.563" v="861"/>
          <ac:cxnSpMkLst>
            <pc:docMk/>
            <pc:sldMk cId="1089256195" sldId="281"/>
            <ac:cxnSpMk id="30" creationId="{C1066FFC-E107-4F70-9AF8-03FE17DD4F35}"/>
          </ac:cxnSpMkLst>
        </pc:cxnChg>
        <pc:cxnChg chg="del">
          <ac:chgData name="Moutaz Al-Huneidi" userId="ef06bd39-2c7b-4910-9028-4578ed52836d" providerId="ADAL" clId="{F0642C68-AF30-4CBF-BE63-B9B915665008}" dt="2019-06-05T15:18:57.563" v="861"/>
          <ac:cxnSpMkLst>
            <pc:docMk/>
            <pc:sldMk cId="1089256195" sldId="281"/>
            <ac:cxnSpMk id="31" creationId="{ED2B6814-67E9-4E23-BB9C-B3D3B4B055EF}"/>
          </ac:cxnSpMkLst>
        </pc:cxnChg>
        <pc:cxnChg chg="del mod">
          <ac:chgData name="Moutaz Al-Huneidi" userId="ef06bd39-2c7b-4910-9028-4578ed52836d" providerId="ADAL" clId="{F0642C68-AF30-4CBF-BE63-B9B915665008}" dt="2019-06-06T14:48:23.025" v="1465" actId="478"/>
          <ac:cxnSpMkLst>
            <pc:docMk/>
            <pc:sldMk cId="1089256195" sldId="281"/>
            <ac:cxnSpMk id="42" creationId="{5174F9DF-E7A3-4A57-9AC8-92E11E7D2EC2}"/>
          </ac:cxnSpMkLst>
        </pc:cxnChg>
        <pc:cxnChg chg="del mod">
          <ac:chgData name="Moutaz Al-Huneidi" userId="ef06bd39-2c7b-4910-9028-4578ed52836d" providerId="ADAL" clId="{F0642C68-AF30-4CBF-BE63-B9B915665008}" dt="2019-06-06T14:48:23.025" v="1465" actId="478"/>
          <ac:cxnSpMkLst>
            <pc:docMk/>
            <pc:sldMk cId="1089256195" sldId="281"/>
            <ac:cxnSpMk id="43" creationId="{418B7517-7067-43B2-A7E2-253FF68F9979}"/>
          </ac:cxnSpMkLst>
        </pc:cxnChg>
        <pc:cxnChg chg="del mod">
          <ac:chgData name="Moutaz Al-Huneidi" userId="ef06bd39-2c7b-4910-9028-4578ed52836d" providerId="ADAL" clId="{F0642C68-AF30-4CBF-BE63-B9B915665008}" dt="2019-06-06T14:48:23.025" v="1465" actId="478"/>
          <ac:cxnSpMkLst>
            <pc:docMk/>
            <pc:sldMk cId="1089256195" sldId="281"/>
            <ac:cxnSpMk id="44" creationId="{8509C374-8738-468A-8B03-427B30198E4D}"/>
          </ac:cxnSpMkLst>
        </pc:cxnChg>
        <pc:cxnChg chg="del mod">
          <ac:chgData name="Moutaz Al-Huneidi" userId="ef06bd39-2c7b-4910-9028-4578ed52836d" providerId="ADAL" clId="{F0642C68-AF30-4CBF-BE63-B9B915665008}" dt="2019-06-06T14:48:23.025" v="1465" actId="478"/>
          <ac:cxnSpMkLst>
            <pc:docMk/>
            <pc:sldMk cId="1089256195" sldId="281"/>
            <ac:cxnSpMk id="45" creationId="{5C5307DF-298F-4641-BFA4-92397570F3C0}"/>
          </ac:cxnSpMkLst>
        </pc:cxnChg>
        <pc:cxnChg chg="del mod">
          <ac:chgData name="Moutaz Al-Huneidi" userId="ef06bd39-2c7b-4910-9028-4578ed52836d" providerId="ADAL" clId="{F0642C68-AF30-4CBF-BE63-B9B915665008}" dt="2019-06-06T14:48:23.025" v="1465" actId="478"/>
          <ac:cxnSpMkLst>
            <pc:docMk/>
            <pc:sldMk cId="1089256195" sldId="281"/>
            <ac:cxnSpMk id="46" creationId="{15FA5A3A-2037-4E25-B3B4-51EAE1173A8D}"/>
          </ac:cxnSpMkLst>
        </pc:cxnChg>
        <pc:cxnChg chg="del mod">
          <ac:chgData name="Moutaz Al-Huneidi" userId="ef06bd39-2c7b-4910-9028-4578ed52836d" providerId="ADAL" clId="{F0642C68-AF30-4CBF-BE63-B9B915665008}" dt="2019-06-06T14:48:23.025" v="1465" actId="478"/>
          <ac:cxnSpMkLst>
            <pc:docMk/>
            <pc:sldMk cId="1089256195" sldId="281"/>
            <ac:cxnSpMk id="47" creationId="{9E5F82A0-438E-4457-81CA-BC602DE35735}"/>
          </ac:cxnSpMkLst>
        </pc:cxnChg>
        <pc:cxnChg chg="del mod">
          <ac:chgData name="Moutaz Al-Huneidi" userId="ef06bd39-2c7b-4910-9028-4578ed52836d" providerId="ADAL" clId="{F0642C68-AF30-4CBF-BE63-B9B915665008}" dt="2019-06-06T14:48:23.025" v="1465" actId="478"/>
          <ac:cxnSpMkLst>
            <pc:docMk/>
            <pc:sldMk cId="1089256195" sldId="281"/>
            <ac:cxnSpMk id="48" creationId="{76935F2D-E679-4845-BAD1-43B782346D55}"/>
          </ac:cxnSpMkLst>
        </pc:cxnChg>
        <pc:cxnChg chg="del mod">
          <ac:chgData name="Moutaz Al-Huneidi" userId="ef06bd39-2c7b-4910-9028-4578ed52836d" providerId="ADAL" clId="{F0642C68-AF30-4CBF-BE63-B9B915665008}" dt="2019-06-06T14:48:23.025" v="1465" actId="478"/>
          <ac:cxnSpMkLst>
            <pc:docMk/>
            <pc:sldMk cId="1089256195" sldId="281"/>
            <ac:cxnSpMk id="49" creationId="{4892068C-A98B-41F0-A08B-182826CC6A96}"/>
          </ac:cxnSpMkLst>
        </pc:cxnChg>
        <pc:cxnChg chg="add mod">
          <ac:chgData name="Moutaz Al-Huneidi" userId="ef06bd39-2c7b-4910-9028-4578ed52836d" providerId="ADAL" clId="{F0642C68-AF30-4CBF-BE63-B9B915665008}" dt="2019-06-06T15:16:44.757" v="1874" actId="1037"/>
          <ac:cxnSpMkLst>
            <pc:docMk/>
            <pc:sldMk cId="1089256195" sldId="281"/>
            <ac:cxnSpMk id="68" creationId="{4C3CC574-418D-44D2-AEBF-39C54B9027A1}"/>
          </ac:cxnSpMkLst>
        </pc:cxnChg>
        <pc:cxnChg chg="add mod">
          <ac:chgData name="Moutaz Al-Huneidi" userId="ef06bd39-2c7b-4910-9028-4578ed52836d" providerId="ADAL" clId="{F0642C68-AF30-4CBF-BE63-B9B915665008}" dt="2019-06-06T15:16:44.757" v="1874" actId="1037"/>
          <ac:cxnSpMkLst>
            <pc:docMk/>
            <pc:sldMk cId="1089256195" sldId="281"/>
            <ac:cxnSpMk id="69" creationId="{2179CD78-2BEF-437E-8110-34CF07AA5F3E}"/>
          </ac:cxnSpMkLst>
        </pc:cxnChg>
        <pc:cxnChg chg="add del mod">
          <ac:chgData name="Moutaz Al-Huneidi" userId="ef06bd39-2c7b-4910-9028-4578ed52836d" providerId="ADAL" clId="{F0642C68-AF30-4CBF-BE63-B9B915665008}" dt="2019-06-06T15:06:45.543" v="1554" actId="478"/>
          <ac:cxnSpMkLst>
            <pc:docMk/>
            <pc:sldMk cId="1089256195" sldId="281"/>
            <ac:cxnSpMk id="74" creationId="{80024D31-6254-40E8-817B-CB2186193F74}"/>
          </ac:cxnSpMkLst>
        </pc:cxnChg>
        <pc:cxnChg chg="add mod">
          <ac:chgData name="Moutaz Al-Huneidi" userId="ef06bd39-2c7b-4910-9028-4578ed52836d" providerId="ADAL" clId="{F0642C68-AF30-4CBF-BE63-B9B915665008}" dt="2019-06-06T15:16:44.757" v="1874" actId="1037"/>
          <ac:cxnSpMkLst>
            <pc:docMk/>
            <pc:sldMk cId="1089256195" sldId="281"/>
            <ac:cxnSpMk id="75" creationId="{31063A17-6313-4248-A713-1D395A95CC1F}"/>
          </ac:cxnSpMkLst>
        </pc:cxnChg>
        <pc:cxnChg chg="add mod">
          <ac:chgData name="Moutaz Al-Huneidi" userId="ef06bd39-2c7b-4910-9028-4578ed52836d" providerId="ADAL" clId="{F0642C68-AF30-4CBF-BE63-B9B915665008}" dt="2019-06-06T15:22:32.674" v="2144" actId="1038"/>
          <ac:cxnSpMkLst>
            <pc:docMk/>
            <pc:sldMk cId="1089256195" sldId="281"/>
            <ac:cxnSpMk id="85" creationId="{CD7275BC-6028-433F-B8E0-3E106AE4F87E}"/>
          </ac:cxnSpMkLst>
        </pc:cxnChg>
        <pc:cxnChg chg="add mod">
          <ac:chgData name="Moutaz Al-Huneidi" userId="ef06bd39-2c7b-4910-9028-4578ed52836d" providerId="ADAL" clId="{F0642C68-AF30-4CBF-BE63-B9B915665008}" dt="2019-06-06T15:22:32.674" v="2144" actId="1038"/>
          <ac:cxnSpMkLst>
            <pc:docMk/>
            <pc:sldMk cId="1089256195" sldId="281"/>
            <ac:cxnSpMk id="86" creationId="{C2C64181-506D-45B9-9FB5-5D15171CC7DD}"/>
          </ac:cxnSpMkLst>
        </pc:cxnChg>
        <pc:cxnChg chg="add mod">
          <ac:chgData name="Moutaz Al-Huneidi" userId="ef06bd39-2c7b-4910-9028-4578ed52836d" providerId="ADAL" clId="{F0642C68-AF30-4CBF-BE63-B9B915665008}" dt="2019-06-06T15:22:32.674" v="2144" actId="1038"/>
          <ac:cxnSpMkLst>
            <pc:docMk/>
            <pc:sldMk cId="1089256195" sldId="281"/>
            <ac:cxnSpMk id="89" creationId="{17FE2DC3-1663-469B-A4FC-5677CE296EE0}"/>
          </ac:cxnSpMkLst>
        </pc:cxnChg>
      </pc:sldChg>
      <pc:sldChg chg="addSp delSp modSp add del">
        <pc:chgData name="Moutaz Al-Huneidi" userId="ef06bd39-2c7b-4910-9028-4578ed52836d" providerId="ADAL" clId="{F0642C68-AF30-4CBF-BE63-B9B915665008}" dt="2019-06-06T15:47:34.487" v="2198" actId="2696"/>
        <pc:sldMkLst>
          <pc:docMk/>
          <pc:sldMk cId="2710440420" sldId="282"/>
        </pc:sldMkLst>
        <pc:spChg chg="add del">
          <ac:chgData name="Moutaz Al-Huneidi" userId="ef06bd39-2c7b-4910-9028-4578ed52836d" providerId="ADAL" clId="{F0642C68-AF30-4CBF-BE63-B9B915665008}" dt="2019-06-05T15:17:16.049" v="858" actId="478"/>
          <ac:spMkLst>
            <pc:docMk/>
            <pc:sldMk cId="2710440420" sldId="282"/>
            <ac:spMk id="6" creationId="{5806D946-4987-4585-97B2-7AD3B54D6588}"/>
          </ac:spMkLst>
        </pc:spChg>
        <pc:spChg chg="add del">
          <ac:chgData name="Moutaz Al-Huneidi" userId="ef06bd39-2c7b-4910-9028-4578ed52836d" providerId="ADAL" clId="{F0642C68-AF30-4CBF-BE63-B9B915665008}" dt="2019-06-05T15:17:19.010" v="859" actId="478"/>
          <ac:spMkLst>
            <pc:docMk/>
            <pc:sldMk cId="2710440420" sldId="282"/>
            <ac:spMk id="11" creationId="{2D169F72-46E2-4D12-83DC-4CED653ECCE0}"/>
          </ac:spMkLst>
        </pc:spChg>
        <pc:spChg chg="add del">
          <ac:chgData name="Moutaz Al-Huneidi" userId="ef06bd39-2c7b-4910-9028-4578ed52836d" providerId="ADAL" clId="{F0642C68-AF30-4CBF-BE63-B9B915665008}" dt="2019-06-05T15:17:19.010" v="859" actId="478"/>
          <ac:spMkLst>
            <pc:docMk/>
            <pc:sldMk cId="2710440420" sldId="282"/>
            <ac:spMk id="33" creationId="{76E51895-DDF1-43EA-8C35-0D790881F61F}"/>
          </ac:spMkLst>
        </pc:spChg>
        <pc:spChg chg="add del">
          <ac:chgData name="Moutaz Al-Huneidi" userId="ef06bd39-2c7b-4910-9028-4578ed52836d" providerId="ADAL" clId="{F0642C68-AF30-4CBF-BE63-B9B915665008}" dt="2019-06-05T15:17:19.010" v="859" actId="478"/>
          <ac:spMkLst>
            <pc:docMk/>
            <pc:sldMk cId="2710440420" sldId="282"/>
            <ac:spMk id="34" creationId="{2346B3FB-2ACE-444C-AD1E-77C674E60E14}"/>
          </ac:spMkLst>
        </pc:spChg>
        <pc:spChg chg="add del">
          <ac:chgData name="Moutaz Al-Huneidi" userId="ef06bd39-2c7b-4910-9028-4578ed52836d" providerId="ADAL" clId="{F0642C68-AF30-4CBF-BE63-B9B915665008}" dt="2019-06-05T15:17:19.010" v="859" actId="478"/>
          <ac:spMkLst>
            <pc:docMk/>
            <pc:sldMk cId="2710440420" sldId="282"/>
            <ac:spMk id="35" creationId="{99DF23E9-1A5A-4DB5-B325-26A9158FAA44}"/>
          </ac:spMkLst>
        </pc:spChg>
        <pc:spChg chg="add del">
          <ac:chgData name="Moutaz Al-Huneidi" userId="ef06bd39-2c7b-4910-9028-4578ed52836d" providerId="ADAL" clId="{F0642C68-AF30-4CBF-BE63-B9B915665008}" dt="2019-06-05T15:17:19.010" v="859" actId="478"/>
          <ac:spMkLst>
            <pc:docMk/>
            <pc:sldMk cId="2710440420" sldId="282"/>
            <ac:spMk id="36" creationId="{A4D43BC0-2D01-4E60-8D3A-38E8A6632A24}"/>
          </ac:spMkLst>
        </pc:spChg>
        <pc:spChg chg="add del">
          <ac:chgData name="Moutaz Al-Huneidi" userId="ef06bd39-2c7b-4910-9028-4578ed52836d" providerId="ADAL" clId="{F0642C68-AF30-4CBF-BE63-B9B915665008}" dt="2019-06-05T15:17:19.010" v="859" actId="478"/>
          <ac:spMkLst>
            <pc:docMk/>
            <pc:sldMk cId="2710440420" sldId="282"/>
            <ac:spMk id="37" creationId="{988078CF-49DD-4D33-AA58-6ED3DA2B3914}"/>
          </ac:spMkLst>
        </pc:spChg>
        <pc:spChg chg="add del">
          <ac:chgData name="Moutaz Al-Huneidi" userId="ef06bd39-2c7b-4910-9028-4578ed52836d" providerId="ADAL" clId="{F0642C68-AF30-4CBF-BE63-B9B915665008}" dt="2019-06-05T15:17:19.010" v="859" actId="478"/>
          <ac:spMkLst>
            <pc:docMk/>
            <pc:sldMk cId="2710440420" sldId="282"/>
            <ac:spMk id="38" creationId="{63D4221D-4F32-49EF-9570-F77A445D652F}"/>
          </ac:spMkLst>
        </pc:spChg>
        <pc:spChg chg="add del">
          <ac:chgData name="Moutaz Al-Huneidi" userId="ef06bd39-2c7b-4910-9028-4578ed52836d" providerId="ADAL" clId="{F0642C68-AF30-4CBF-BE63-B9B915665008}" dt="2019-06-05T15:17:19.010" v="859" actId="478"/>
          <ac:spMkLst>
            <pc:docMk/>
            <pc:sldMk cId="2710440420" sldId="282"/>
            <ac:spMk id="39" creationId="{894918B6-003D-4111-B937-D33737EDBEDA}"/>
          </ac:spMkLst>
        </pc:spChg>
        <pc:spChg chg="add del">
          <ac:chgData name="Moutaz Al-Huneidi" userId="ef06bd39-2c7b-4910-9028-4578ed52836d" providerId="ADAL" clId="{F0642C68-AF30-4CBF-BE63-B9B915665008}" dt="2019-06-05T15:17:19.010" v="859" actId="478"/>
          <ac:spMkLst>
            <pc:docMk/>
            <pc:sldMk cId="2710440420" sldId="282"/>
            <ac:spMk id="40" creationId="{34995370-718D-4ED7-9A10-527B88B05DD4}"/>
          </ac:spMkLst>
        </pc:spChg>
        <pc:spChg chg="add del">
          <ac:chgData name="Moutaz Al-Huneidi" userId="ef06bd39-2c7b-4910-9028-4578ed52836d" providerId="ADAL" clId="{F0642C68-AF30-4CBF-BE63-B9B915665008}" dt="2019-06-05T15:17:19.010" v="859" actId="478"/>
          <ac:spMkLst>
            <pc:docMk/>
            <pc:sldMk cId="2710440420" sldId="282"/>
            <ac:spMk id="41" creationId="{412EABB3-7BD0-4346-9FF2-F9FD21ADDDEA}"/>
          </ac:spMkLst>
        </pc:spChg>
        <pc:spChg chg="add del">
          <ac:chgData name="Moutaz Al-Huneidi" userId="ef06bd39-2c7b-4910-9028-4578ed52836d" providerId="ADAL" clId="{F0642C68-AF30-4CBF-BE63-B9B915665008}" dt="2019-06-05T15:17:19.010" v="859" actId="478"/>
          <ac:spMkLst>
            <pc:docMk/>
            <pc:sldMk cId="2710440420" sldId="282"/>
            <ac:spMk id="51" creationId="{0D294965-80D3-443D-94F7-545DE3C71F93}"/>
          </ac:spMkLst>
        </pc:spChg>
        <pc:spChg chg="add del">
          <ac:chgData name="Moutaz Al-Huneidi" userId="ef06bd39-2c7b-4910-9028-4578ed52836d" providerId="ADAL" clId="{F0642C68-AF30-4CBF-BE63-B9B915665008}" dt="2019-06-05T15:17:19.010" v="859" actId="478"/>
          <ac:spMkLst>
            <pc:docMk/>
            <pc:sldMk cId="2710440420" sldId="282"/>
            <ac:spMk id="52" creationId="{145F5193-08A4-4FC5-9E33-5A4AAE8E97CB}"/>
          </ac:spMkLst>
        </pc:spChg>
        <pc:spChg chg="add del">
          <ac:chgData name="Moutaz Al-Huneidi" userId="ef06bd39-2c7b-4910-9028-4578ed52836d" providerId="ADAL" clId="{F0642C68-AF30-4CBF-BE63-B9B915665008}" dt="2019-06-05T15:17:19.010" v="859" actId="478"/>
          <ac:spMkLst>
            <pc:docMk/>
            <pc:sldMk cId="2710440420" sldId="282"/>
            <ac:spMk id="53" creationId="{5B4B1AE8-368B-4170-8002-B7EAC777B279}"/>
          </ac:spMkLst>
        </pc:spChg>
        <pc:spChg chg="add del">
          <ac:chgData name="Moutaz Al-Huneidi" userId="ef06bd39-2c7b-4910-9028-4578ed52836d" providerId="ADAL" clId="{F0642C68-AF30-4CBF-BE63-B9B915665008}" dt="2019-06-05T15:17:19.010" v="859" actId="478"/>
          <ac:spMkLst>
            <pc:docMk/>
            <pc:sldMk cId="2710440420" sldId="282"/>
            <ac:spMk id="54" creationId="{5A7FCA49-8B51-4385-8374-3E35CF840C07}"/>
          </ac:spMkLst>
        </pc:spChg>
        <pc:spChg chg="add del">
          <ac:chgData name="Moutaz Al-Huneidi" userId="ef06bd39-2c7b-4910-9028-4578ed52836d" providerId="ADAL" clId="{F0642C68-AF30-4CBF-BE63-B9B915665008}" dt="2019-06-05T15:17:19.010" v="859" actId="478"/>
          <ac:spMkLst>
            <pc:docMk/>
            <pc:sldMk cId="2710440420" sldId="282"/>
            <ac:spMk id="55" creationId="{3C08838C-9C1A-42B3-8B58-8F9961CD71C2}"/>
          </ac:spMkLst>
        </pc:spChg>
        <pc:spChg chg="add del">
          <ac:chgData name="Moutaz Al-Huneidi" userId="ef06bd39-2c7b-4910-9028-4578ed52836d" providerId="ADAL" clId="{F0642C68-AF30-4CBF-BE63-B9B915665008}" dt="2019-06-05T15:17:19.010" v="859" actId="478"/>
          <ac:spMkLst>
            <pc:docMk/>
            <pc:sldMk cId="2710440420" sldId="282"/>
            <ac:spMk id="56" creationId="{4DB80594-5A68-461F-9ECA-068895EDD447}"/>
          </ac:spMkLst>
        </pc:spChg>
        <pc:spChg chg="add del">
          <ac:chgData name="Moutaz Al-Huneidi" userId="ef06bd39-2c7b-4910-9028-4578ed52836d" providerId="ADAL" clId="{F0642C68-AF30-4CBF-BE63-B9B915665008}" dt="2019-06-05T15:17:19.010" v="859" actId="478"/>
          <ac:spMkLst>
            <pc:docMk/>
            <pc:sldMk cId="2710440420" sldId="282"/>
            <ac:spMk id="57" creationId="{AAD5BD21-0727-484E-9844-E7F7CA4F01F5}"/>
          </ac:spMkLst>
        </pc:spChg>
        <pc:spChg chg="add del">
          <ac:chgData name="Moutaz Al-Huneidi" userId="ef06bd39-2c7b-4910-9028-4578ed52836d" providerId="ADAL" clId="{F0642C68-AF30-4CBF-BE63-B9B915665008}" dt="2019-06-05T15:17:19.010" v="859" actId="478"/>
          <ac:spMkLst>
            <pc:docMk/>
            <pc:sldMk cId="2710440420" sldId="282"/>
            <ac:spMk id="58" creationId="{05D88343-8C61-45C7-B709-4E52DB751AD5}"/>
          </ac:spMkLst>
        </pc:spChg>
        <pc:spChg chg="add del">
          <ac:chgData name="Moutaz Al-Huneidi" userId="ef06bd39-2c7b-4910-9028-4578ed52836d" providerId="ADAL" clId="{F0642C68-AF30-4CBF-BE63-B9B915665008}" dt="2019-06-05T15:17:19.010" v="859" actId="478"/>
          <ac:spMkLst>
            <pc:docMk/>
            <pc:sldMk cId="2710440420" sldId="282"/>
            <ac:spMk id="59" creationId="{84BFC55F-4C22-4D7D-8072-BFB9139728AB}"/>
          </ac:spMkLst>
        </pc:spChg>
        <pc:spChg chg="add del">
          <ac:chgData name="Moutaz Al-Huneidi" userId="ef06bd39-2c7b-4910-9028-4578ed52836d" providerId="ADAL" clId="{F0642C68-AF30-4CBF-BE63-B9B915665008}" dt="2019-06-05T15:17:19.010" v="859" actId="478"/>
          <ac:spMkLst>
            <pc:docMk/>
            <pc:sldMk cId="2710440420" sldId="282"/>
            <ac:spMk id="60" creationId="{CDCD0A46-2506-4E11-BB70-7C9168E05DB0}"/>
          </ac:spMkLst>
        </pc:spChg>
        <pc:spChg chg="add del">
          <ac:chgData name="Moutaz Al-Huneidi" userId="ef06bd39-2c7b-4910-9028-4578ed52836d" providerId="ADAL" clId="{F0642C68-AF30-4CBF-BE63-B9B915665008}" dt="2019-06-05T15:17:19.010" v="859" actId="478"/>
          <ac:spMkLst>
            <pc:docMk/>
            <pc:sldMk cId="2710440420" sldId="282"/>
            <ac:spMk id="61" creationId="{8E84FC9B-7830-49B4-BD88-8FED011421C0}"/>
          </ac:spMkLst>
        </pc:spChg>
        <pc:spChg chg="add del">
          <ac:chgData name="Moutaz Al-Huneidi" userId="ef06bd39-2c7b-4910-9028-4578ed52836d" providerId="ADAL" clId="{F0642C68-AF30-4CBF-BE63-B9B915665008}" dt="2019-06-05T15:17:19.010" v="859" actId="478"/>
          <ac:spMkLst>
            <pc:docMk/>
            <pc:sldMk cId="2710440420" sldId="282"/>
            <ac:spMk id="62" creationId="{BC9F4F78-CCAC-48A6-946C-857BD31C32C3}"/>
          </ac:spMkLst>
        </pc:spChg>
        <pc:spChg chg="add del">
          <ac:chgData name="Moutaz Al-Huneidi" userId="ef06bd39-2c7b-4910-9028-4578ed52836d" providerId="ADAL" clId="{F0642C68-AF30-4CBF-BE63-B9B915665008}" dt="2019-06-05T15:17:19.010" v="859" actId="478"/>
          <ac:spMkLst>
            <pc:docMk/>
            <pc:sldMk cId="2710440420" sldId="282"/>
            <ac:spMk id="63" creationId="{5F4688CA-22BF-4877-8356-9FA9BC2F60C0}"/>
          </ac:spMkLst>
        </pc:spChg>
        <pc:spChg chg="add del">
          <ac:chgData name="Moutaz Al-Huneidi" userId="ef06bd39-2c7b-4910-9028-4578ed52836d" providerId="ADAL" clId="{F0642C68-AF30-4CBF-BE63-B9B915665008}" dt="2019-06-05T15:17:19.010" v="859" actId="478"/>
          <ac:spMkLst>
            <pc:docMk/>
            <pc:sldMk cId="2710440420" sldId="282"/>
            <ac:spMk id="64" creationId="{2967CACD-C2D0-4DB5-B193-7563323C1EFB}"/>
          </ac:spMkLst>
        </pc:spChg>
        <pc:spChg chg="add del">
          <ac:chgData name="Moutaz Al-Huneidi" userId="ef06bd39-2c7b-4910-9028-4578ed52836d" providerId="ADAL" clId="{F0642C68-AF30-4CBF-BE63-B9B915665008}" dt="2019-06-05T15:17:19.010" v="859" actId="478"/>
          <ac:spMkLst>
            <pc:docMk/>
            <pc:sldMk cId="2710440420" sldId="282"/>
            <ac:spMk id="65" creationId="{B5CB0E8E-0EB0-4141-91C4-5E351F33885C}"/>
          </ac:spMkLst>
        </pc:spChg>
        <pc:spChg chg="add del">
          <ac:chgData name="Moutaz Al-Huneidi" userId="ef06bd39-2c7b-4910-9028-4578ed52836d" providerId="ADAL" clId="{F0642C68-AF30-4CBF-BE63-B9B915665008}" dt="2019-06-05T15:17:19.010" v="859" actId="478"/>
          <ac:spMkLst>
            <pc:docMk/>
            <pc:sldMk cId="2710440420" sldId="282"/>
            <ac:spMk id="66" creationId="{47CDDC17-5A31-47C1-BE27-9FB1AA209CA2}"/>
          </ac:spMkLst>
        </pc:spChg>
        <pc:spChg chg="add del">
          <ac:chgData name="Moutaz Al-Huneidi" userId="ef06bd39-2c7b-4910-9028-4578ed52836d" providerId="ADAL" clId="{F0642C68-AF30-4CBF-BE63-B9B915665008}" dt="2019-06-05T15:17:19.010" v="859" actId="478"/>
          <ac:spMkLst>
            <pc:docMk/>
            <pc:sldMk cId="2710440420" sldId="282"/>
            <ac:spMk id="67" creationId="{C33F5C8E-45A6-4A40-A08F-AAD4CA8369E9}"/>
          </ac:spMkLst>
        </pc:spChg>
        <pc:spChg chg="add del">
          <ac:chgData name="Moutaz Al-Huneidi" userId="ef06bd39-2c7b-4910-9028-4578ed52836d" providerId="ADAL" clId="{F0642C68-AF30-4CBF-BE63-B9B915665008}" dt="2019-06-05T15:17:19.010" v="859" actId="478"/>
          <ac:spMkLst>
            <pc:docMk/>
            <pc:sldMk cId="2710440420" sldId="282"/>
            <ac:spMk id="68" creationId="{E23099BE-7300-44E0-A97B-2F20859F7A98}"/>
          </ac:spMkLst>
        </pc:spChg>
        <pc:spChg chg="add del">
          <ac:chgData name="Moutaz Al-Huneidi" userId="ef06bd39-2c7b-4910-9028-4578ed52836d" providerId="ADAL" clId="{F0642C68-AF30-4CBF-BE63-B9B915665008}" dt="2019-06-05T15:17:19.010" v="859" actId="478"/>
          <ac:spMkLst>
            <pc:docMk/>
            <pc:sldMk cId="2710440420" sldId="282"/>
            <ac:spMk id="69" creationId="{22116B3E-DB1D-4E03-9935-69EFC24A844E}"/>
          </ac:spMkLst>
        </pc:spChg>
        <pc:spChg chg="add del">
          <ac:chgData name="Moutaz Al-Huneidi" userId="ef06bd39-2c7b-4910-9028-4578ed52836d" providerId="ADAL" clId="{F0642C68-AF30-4CBF-BE63-B9B915665008}" dt="2019-06-05T15:17:19.010" v="859" actId="478"/>
          <ac:spMkLst>
            <pc:docMk/>
            <pc:sldMk cId="2710440420" sldId="282"/>
            <ac:spMk id="70" creationId="{C801A103-76A0-43BE-A0E4-64F540B6AAD5}"/>
          </ac:spMkLst>
        </pc:spChg>
        <pc:spChg chg="add del">
          <ac:chgData name="Moutaz Al-Huneidi" userId="ef06bd39-2c7b-4910-9028-4578ed52836d" providerId="ADAL" clId="{F0642C68-AF30-4CBF-BE63-B9B915665008}" dt="2019-06-05T15:17:19.010" v="859" actId="478"/>
          <ac:spMkLst>
            <pc:docMk/>
            <pc:sldMk cId="2710440420" sldId="282"/>
            <ac:spMk id="71" creationId="{64368B3A-33A3-4E09-9720-1229307E8590}"/>
          </ac:spMkLst>
        </pc:spChg>
        <pc:spChg chg="add del">
          <ac:chgData name="Moutaz Al-Huneidi" userId="ef06bd39-2c7b-4910-9028-4578ed52836d" providerId="ADAL" clId="{F0642C68-AF30-4CBF-BE63-B9B915665008}" dt="2019-06-05T15:17:19.010" v="859" actId="478"/>
          <ac:spMkLst>
            <pc:docMk/>
            <pc:sldMk cId="2710440420" sldId="282"/>
            <ac:spMk id="72" creationId="{08991A41-8E5F-405A-95F0-D7937CD884DC}"/>
          </ac:spMkLst>
        </pc:spChg>
        <pc:spChg chg="add del">
          <ac:chgData name="Moutaz Al-Huneidi" userId="ef06bd39-2c7b-4910-9028-4578ed52836d" providerId="ADAL" clId="{F0642C68-AF30-4CBF-BE63-B9B915665008}" dt="2019-06-05T15:17:19.010" v="859" actId="478"/>
          <ac:spMkLst>
            <pc:docMk/>
            <pc:sldMk cId="2710440420" sldId="282"/>
            <ac:spMk id="73" creationId="{7E695ED1-87B1-4BEC-AC54-F2941550E1CA}"/>
          </ac:spMkLst>
        </pc:spChg>
        <pc:spChg chg="mod">
          <ac:chgData name="Moutaz Al-Huneidi" userId="ef06bd39-2c7b-4910-9028-4578ed52836d" providerId="ADAL" clId="{F0642C68-AF30-4CBF-BE63-B9B915665008}" dt="2019-06-06T14:20:33.987" v="1328" actId="2711"/>
          <ac:spMkLst>
            <pc:docMk/>
            <pc:sldMk cId="2710440420" sldId="282"/>
            <ac:spMk id="80" creationId="{94822F5C-60A0-4539-B7D3-6206D11B0F51}"/>
          </ac:spMkLst>
        </pc:spChg>
        <pc:spChg chg="add">
          <ac:chgData name="Moutaz Al-Huneidi" userId="ef06bd39-2c7b-4910-9028-4578ed52836d" providerId="ADAL" clId="{F0642C68-AF30-4CBF-BE63-B9B915665008}" dt="2019-06-05T15:17:20.088" v="860"/>
          <ac:spMkLst>
            <pc:docMk/>
            <pc:sldMk cId="2710440420" sldId="282"/>
            <ac:spMk id="83" creationId="{790BEE4F-5522-41EE-9482-67813D69C4D0}"/>
          </ac:spMkLst>
        </pc:spChg>
        <pc:spChg chg="add mod">
          <ac:chgData name="Moutaz Al-Huneidi" userId="ef06bd39-2c7b-4910-9028-4578ed52836d" providerId="ADAL" clId="{F0642C68-AF30-4CBF-BE63-B9B915665008}" dt="2019-06-06T14:20:00.961" v="1322" actId="2711"/>
          <ac:spMkLst>
            <pc:docMk/>
            <pc:sldMk cId="2710440420" sldId="282"/>
            <ac:spMk id="84" creationId="{00F12A1D-EA79-4536-BC02-4570DB1FD084}"/>
          </ac:spMkLst>
        </pc:spChg>
        <pc:spChg chg="add mod">
          <ac:chgData name="Moutaz Al-Huneidi" userId="ef06bd39-2c7b-4910-9028-4578ed52836d" providerId="ADAL" clId="{F0642C68-AF30-4CBF-BE63-B9B915665008}" dt="2019-06-06T14:20:29.111" v="1327" actId="1076"/>
          <ac:spMkLst>
            <pc:docMk/>
            <pc:sldMk cId="2710440420" sldId="282"/>
            <ac:spMk id="85" creationId="{2309B302-5367-46EA-9FB7-27A34413F68F}"/>
          </ac:spMkLst>
        </pc:spChg>
        <pc:spChg chg="add mod">
          <ac:chgData name="Moutaz Al-Huneidi" userId="ef06bd39-2c7b-4910-9028-4578ed52836d" providerId="ADAL" clId="{F0642C68-AF30-4CBF-BE63-B9B915665008}" dt="2019-06-06T14:20:17.963" v="1324" actId="2711"/>
          <ac:spMkLst>
            <pc:docMk/>
            <pc:sldMk cId="2710440420" sldId="282"/>
            <ac:spMk id="86" creationId="{6DE065CE-B6AB-4D87-A109-E940A359AA5B}"/>
          </ac:spMkLst>
        </pc:spChg>
        <pc:spChg chg="add mod">
          <ac:chgData name="Moutaz Al-Huneidi" userId="ef06bd39-2c7b-4910-9028-4578ed52836d" providerId="ADAL" clId="{F0642C68-AF30-4CBF-BE63-B9B915665008}" dt="2019-06-06T14:20:22.854" v="1325" actId="2711"/>
          <ac:spMkLst>
            <pc:docMk/>
            <pc:sldMk cId="2710440420" sldId="282"/>
            <ac:spMk id="87" creationId="{20B7651C-FFD2-4D58-AA0D-DEC192A60ACF}"/>
          </ac:spMkLst>
        </pc:spChg>
        <pc:grpChg chg="add mod">
          <ac:chgData name="Moutaz Al-Huneidi" userId="ef06bd39-2c7b-4910-9028-4578ed52836d" providerId="ADAL" clId="{F0642C68-AF30-4CBF-BE63-B9B915665008}" dt="2019-06-05T15:24:10.377" v="878" actId="1076"/>
          <ac:grpSpMkLst>
            <pc:docMk/>
            <pc:sldMk cId="2710440420" sldId="282"/>
            <ac:grpSpMk id="74" creationId="{5D8347AD-1DDE-4D78-A152-20E3A7C53E77}"/>
          </ac:grpSpMkLst>
        </pc:grpChg>
        <pc:grpChg chg="add mod">
          <ac:chgData name="Moutaz Al-Huneidi" userId="ef06bd39-2c7b-4910-9028-4578ed52836d" providerId="ADAL" clId="{F0642C68-AF30-4CBF-BE63-B9B915665008}" dt="2019-06-05T15:23:47.306" v="867" actId="1076"/>
          <ac:grpSpMkLst>
            <pc:docMk/>
            <pc:sldMk cId="2710440420" sldId="282"/>
            <ac:grpSpMk id="77" creationId="{21C78CC2-597D-445A-8FF4-49A7328927DC}"/>
          </ac:grpSpMkLst>
        </pc:grpChg>
        <pc:graphicFrameChg chg="add del">
          <ac:chgData name="Moutaz Al-Huneidi" userId="ef06bd39-2c7b-4910-9028-4578ed52836d" providerId="ADAL" clId="{F0642C68-AF30-4CBF-BE63-B9B915665008}" dt="2019-06-05T15:17:19.010" v="859" actId="478"/>
          <ac:graphicFrameMkLst>
            <pc:docMk/>
            <pc:sldMk cId="2710440420" sldId="282"/>
            <ac:graphicFrameMk id="32" creationId="{33C7C921-AABA-4536-8BC1-D79FF328B547}"/>
          </ac:graphicFrameMkLst>
        </pc:graphicFrameChg>
        <pc:graphicFrameChg chg="add del">
          <ac:chgData name="Moutaz Al-Huneidi" userId="ef06bd39-2c7b-4910-9028-4578ed52836d" providerId="ADAL" clId="{F0642C68-AF30-4CBF-BE63-B9B915665008}" dt="2019-06-05T15:17:19.010" v="859" actId="478"/>
          <ac:graphicFrameMkLst>
            <pc:docMk/>
            <pc:sldMk cId="2710440420" sldId="282"/>
            <ac:graphicFrameMk id="50" creationId="{1C45D7ED-6EB5-474D-828C-23724B923195}"/>
          </ac:graphicFrameMkLst>
        </pc:graphicFrameChg>
        <pc:picChg chg="add mod">
          <ac:chgData name="Moutaz Al-Huneidi" userId="ef06bd39-2c7b-4910-9028-4578ed52836d" providerId="ADAL" clId="{F0642C68-AF30-4CBF-BE63-B9B915665008}" dt="2019-06-05T15:23:48.399" v="869" actId="1076"/>
          <ac:picMkLst>
            <pc:docMk/>
            <pc:sldMk cId="2710440420" sldId="282"/>
            <ac:picMk id="82" creationId="{07828FB4-9D6A-49C3-AD62-7B9DE8A49B7D}"/>
          </ac:picMkLst>
        </pc:picChg>
        <pc:picChg chg="add">
          <ac:chgData name="Moutaz Al-Huneidi" userId="ef06bd39-2c7b-4910-9028-4578ed52836d" providerId="ADAL" clId="{F0642C68-AF30-4CBF-BE63-B9B915665008}" dt="2019-06-05T15:17:20.088" v="860"/>
          <ac:picMkLst>
            <pc:docMk/>
            <pc:sldMk cId="2710440420" sldId="282"/>
            <ac:picMk id="88" creationId="{1EABFB1F-3265-4762-917A-E47D3A68FF3C}"/>
          </ac:picMkLst>
        </pc:picChg>
        <pc:cxnChg chg="add del">
          <ac:chgData name="Moutaz Al-Huneidi" userId="ef06bd39-2c7b-4910-9028-4578ed52836d" providerId="ADAL" clId="{F0642C68-AF30-4CBF-BE63-B9B915665008}" dt="2019-06-05T15:17:16.049" v="858" actId="478"/>
          <ac:cxnSpMkLst>
            <pc:docMk/>
            <pc:sldMk cId="2710440420" sldId="282"/>
            <ac:cxnSpMk id="5" creationId="{5CA1AE3F-710F-4A48-B30C-A0EBB7F24920}"/>
          </ac:cxnSpMkLst>
        </pc:cxnChg>
        <pc:cxnChg chg="add del">
          <ac:chgData name="Moutaz Al-Huneidi" userId="ef06bd39-2c7b-4910-9028-4578ed52836d" providerId="ADAL" clId="{F0642C68-AF30-4CBF-BE63-B9B915665008}" dt="2019-06-05T15:17:19.010" v="859" actId="478"/>
          <ac:cxnSpMkLst>
            <pc:docMk/>
            <pc:sldMk cId="2710440420" sldId="282"/>
            <ac:cxnSpMk id="23" creationId="{17FAABF1-BA90-4239-905A-7392E2E00861}"/>
          </ac:cxnSpMkLst>
        </pc:cxnChg>
        <pc:cxnChg chg="add del">
          <ac:chgData name="Moutaz Al-Huneidi" userId="ef06bd39-2c7b-4910-9028-4578ed52836d" providerId="ADAL" clId="{F0642C68-AF30-4CBF-BE63-B9B915665008}" dt="2019-06-05T15:17:19.010" v="859" actId="478"/>
          <ac:cxnSpMkLst>
            <pc:docMk/>
            <pc:sldMk cId="2710440420" sldId="282"/>
            <ac:cxnSpMk id="24" creationId="{3B83B070-01B8-4282-9AC6-891DE1F3D2E4}"/>
          </ac:cxnSpMkLst>
        </pc:cxnChg>
        <pc:cxnChg chg="add del">
          <ac:chgData name="Moutaz Al-Huneidi" userId="ef06bd39-2c7b-4910-9028-4578ed52836d" providerId="ADAL" clId="{F0642C68-AF30-4CBF-BE63-B9B915665008}" dt="2019-06-05T15:17:19.010" v="859" actId="478"/>
          <ac:cxnSpMkLst>
            <pc:docMk/>
            <pc:sldMk cId="2710440420" sldId="282"/>
            <ac:cxnSpMk id="25" creationId="{7390137B-7AC1-4F78-A062-540D7341FBB6}"/>
          </ac:cxnSpMkLst>
        </pc:cxnChg>
        <pc:cxnChg chg="add del">
          <ac:chgData name="Moutaz Al-Huneidi" userId="ef06bd39-2c7b-4910-9028-4578ed52836d" providerId="ADAL" clId="{F0642C68-AF30-4CBF-BE63-B9B915665008}" dt="2019-06-05T15:17:19.010" v="859" actId="478"/>
          <ac:cxnSpMkLst>
            <pc:docMk/>
            <pc:sldMk cId="2710440420" sldId="282"/>
            <ac:cxnSpMk id="26" creationId="{88F23AB5-5137-4A8D-B57E-AF62B992D160}"/>
          </ac:cxnSpMkLst>
        </pc:cxnChg>
        <pc:cxnChg chg="add del">
          <ac:chgData name="Moutaz Al-Huneidi" userId="ef06bd39-2c7b-4910-9028-4578ed52836d" providerId="ADAL" clId="{F0642C68-AF30-4CBF-BE63-B9B915665008}" dt="2019-06-05T15:17:19.010" v="859" actId="478"/>
          <ac:cxnSpMkLst>
            <pc:docMk/>
            <pc:sldMk cId="2710440420" sldId="282"/>
            <ac:cxnSpMk id="27" creationId="{FF0A5FE7-12BB-4F06-9607-F4BB5C2F024F}"/>
          </ac:cxnSpMkLst>
        </pc:cxnChg>
        <pc:cxnChg chg="add del">
          <ac:chgData name="Moutaz Al-Huneidi" userId="ef06bd39-2c7b-4910-9028-4578ed52836d" providerId="ADAL" clId="{F0642C68-AF30-4CBF-BE63-B9B915665008}" dt="2019-06-05T15:17:19.010" v="859" actId="478"/>
          <ac:cxnSpMkLst>
            <pc:docMk/>
            <pc:sldMk cId="2710440420" sldId="282"/>
            <ac:cxnSpMk id="28" creationId="{8120FB07-9254-4F38-843D-1E4E84E5F188}"/>
          </ac:cxnSpMkLst>
        </pc:cxnChg>
        <pc:cxnChg chg="add del">
          <ac:chgData name="Moutaz Al-Huneidi" userId="ef06bd39-2c7b-4910-9028-4578ed52836d" providerId="ADAL" clId="{F0642C68-AF30-4CBF-BE63-B9B915665008}" dt="2019-06-05T15:17:19.010" v="859" actId="478"/>
          <ac:cxnSpMkLst>
            <pc:docMk/>
            <pc:sldMk cId="2710440420" sldId="282"/>
            <ac:cxnSpMk id="29" creationId="{BF8488B2-ED19-4AA6-9056-E8A5B91BF012}"/>
          </ac:cxnSpMkLst>
        </pc:cxnChg>
        <pc:cxnChg chg="add del">
          <ac:chgData name="Moutaz Al-Huneidi" userId="ef06bd39-2c7b-4910-9028-4578ed52836d" providerId="ADAL" clId="{F0642C68-AF30-4CBF-BE63-B9B915665008}" dt="2019-06-05T15:17:19.010" v="859" actId="478"/>
          <ac:cxnSpMkLst>
            <pc:docMk/>
            <pc:sldMk cId="2710440420" sldId="282"/>
            <ac:cxnSpMk id="30" creationId="{C1066FFC-E107-4F70-9AF8-03FE17DD4F35}"/>
          </ac:cxnSpMkLst>
        </pc:cxnChg>
        <pc:cxnChg chg="add del">
          <ac:chgData name="Moutaz Al-Huneidi" userId="ef06bd39-2c7b-4910-9028-4578ed52836d" providerId="ADAL" clId="{F0642C68-AF30-4CBF-BE63-B9B915665008}" dt="2019-06-05T15:17:19.010" v="859" actId="478"/>
          <ac:cxnSpMkLst>
            <pc:docMk/>
            <pc:sldMk cId="2710440420" sldId="282"/>
            <ac:cxnSpMk id="31" creationId="{ED2B6814-67E9-4E23-BB9C-B3D3B4B055EF}"/>
          </ac:cxnSpMkLst>
        </pc:cxnChg>
        <pc:cxnChg chg="add del">
          <ac:chgData name="Moutaz Al-Huneidi" userId="ef06bd39-2c7b-4910-9028-4578ed52836d" providerId="ADAL" clId="{F0642C68-AF30-4CBF-BE63-B9B915665008}" dt="2019-06-05T15:17:19.010" v="859" actId="478"/>
          <ac:cxnSpMkLst>
            <pc:docMk/>
            <pc:sldMk cId="2710440420" sldId="282"/>
            <ac:cxnSpMk id="42" creationId="{5174F9DF-E7A3-4A57-9AC8-92E11E7D2EC2}"/>
          </ac:cxnSpMkLst>
        </pc:cxnChg>
        <pc:cxnChg chg="add del">
          <ac:chgData name="Moutaz Al-Huneidi" userId="ef06bd39-2c7b-4910-9028-4578ed52836d" providerId="ADAL" clId="{F0642C68-AF30-4CBF-BE63-B9B915665008}" dt="2019-06-05T15:17:19.010" v="859" actId="478"/>
          <ac:cxnSpMkLst>
            <pc:docMk/>
            <pc:sldMk cId="2710440420" sldId="282"/>
            <ac:cxnSpMk id="43" creationId="{418B7517-7067-43B2-A7E2-253FF68F9979}"/>
          </ac:cxnSpMkLst>
        </pc:cxnChg>
        <pc:cxnChg chg="add del">
          <ac:chgData name="Moutaz Al-Huneidi" userId="ef06bd39-2c7b-4910-9028-4578ed52836d" providerId="ADAL" clId="{F0642C68-AF30-4CBF-BE63-B9B915665008}" dt="2019-06-05T15:17:19.010" v="859" actId="478"/>
          <ac:cxnSpMkLst>
            <pc:docMk/>
            <pc:sldMk cId="2710440420" sldId="282"/>
            <ac:cxnSpMk id="44" creationId="{8509C374-8738-468A-8B03-427B30198E4D}"/>
          </ac:cxnSpMkLst>
        </pc:cxnChg>
        <pc:cxnChg chg="add del">
          <ac:chgData name="Moutaz Al-Huneidi" userId="ef06bd39-2c7b-4910-9028-4578ed52836d" providerId="ADAL" clId="{F0642C68-AF30-4CBF-BE63-B9B915665008}" dt="2019-06-05T15:17:19.010" v="859" actId="478"/>
          <ac:cxnSpMkLst>
            <pc:docMk/>
            <pc:sldMk cId="2710440420" sldId="282"/>
            <ac:cxnSpMk id="45" creationId="{5C5307DF-298F-4641-BFA4-92397570F3C0}"/>
          </ac:cxnSpMkLst>
        </pc:cxnChg>
        <pc:cxnChg chg="add del">
          <ac:chgData name="Moutaz Al-Huneidi" userId="ef06bd39-2c7b-4910-9028-4578ed52836d" providerId="ADAL" clId="{F0642C68-AF30-4CBF-BE63-B9B915665008}" dt="2019-06-05T15:17:19.010" v="859" actId="478"/>
          <ac:cxnSpMkLst>
            <pc:docMk/>
            <pc:sldMk cId="2710440420" sldId="282"/>
            <ac:cxnSpMk id="46" creationId="{15FA5A3A-2037-4E25-B3B4-51EAE1173A8D}"/>
          </ac:cxnSpMkLst>
        </pc:cxnChg>
        <pc:cxnChg chg="add del">
          <ac:chgData name="Moutaz Al-Huneidi" userId="ef06bd39-2c7b-4910-9028-4578ed52836d" providerId="ADAL" clId="{F0642C68-AF30-4CBF-BE63-B9B915665008}" dt="2019-06-05T15:17:19.010" v="859" actId="478"/>
          <ac:cxnSpMkLst>
            <pc:docMk/>
            <pc:sldMk cId="2710440420" sldId="282"/>
            <ac:cxnSpMk id="47" creationId="{9E5F82A0-438E-4457-81CA-BC602DE35735}"/>
          </ac:cxnSpMkLst>
        </pc:cxnChg>
        <pc:cxnChg chg="add del">
          <ac:chgData name="Moutaz Al-Huneidi" userId="ef06bd39-2c7b-4910-9028-4578ed52836d" providerId="ADAL" clId="{F0642C68-AF30-4CBF-BE63-B9B915665008}" dt="2019-06-05T15:17:19.010" v="859" actId="478"/>
          <ac:cxnSpMkLst>
            <pc:docMk/>
            <pc:sldMk cId="2710440420" sldId="282"/>
            <ac:cxnSpMk id="48" creationId="{76935F2D-E679-4845-BAD1-43B782346D55}"/>
          </ac:cxnSpMkLst>
        </pc:cxnChg>
        <pc:cxnChg chg="add del">
          <ac:chgData name="Moutaz Al-Huneidi" userId="ef06bd39-2c7b-4910-9028-4578ed52836d" providerId="ADAL" clId="{F0642C68-AF30-4CBF-BE63-B9B915665008}" dt="2019-06-05T15:17:19.010" v="859" actId="478"/>
          <ac:cxnSpMkLst>
            <pc:docMk/>
            <pc:sldMk cId="2710440420" sldId="282"/>
            <ac:cxnSpMk id="49" creationId="{4892068C-A98B-41F0-A08B-182826CC6A96}"/>
          </ac:cxnSpMkLst>
        </pc:cxnChg>
      </pc:sldChg>
      <pc:sldChg chg="addSp delSp modSp add modAnim">
        <pc:chgData name="Moutaz Al-Huneidi" userId="ef06bd39-2c7b-4910-9028-4578ed52836d" providerId="ADAL" clId="{F0642C68-AF30-4CBF-BE63-B9B915665008}" dt="2019-06-06T17:50:49.252" v="2891" actId="478"/>
        <pc:sldMkLst>
          <pc:docMk/>
          <pc:sldMk cId="888234551" sldId="283"/>
        </pc:sldMkLst>
        <pc:spChg chg="add mod">
          <ac:chgData name="Moutaz Al-Huneidi" userId="ef06bd39-2c7b-4910-9028-4578ed52836d" providerId="ADAL" clId="{F0642C68-AF30-4CBF-BE63-B9B915665008}" dt="2019-06-06T14:45:26.632" v="1422" actId="207"/>
          <ac:spMkLst>
            <pc:docMk/>
            <pc:sldMk cId="888234551" sldId="283"/>
            <ac:spMk id="27" creationId="{0081A976-FBD1-4D1D-8AEA-9B8EBE5C8AF6}"/>
          </ac:spMkLst>
        </pc:spChg>
        <pc:spChg chg="add mod">
          <ac:chgData name="Moutaz Al-Huneidi" userId="ef06bd39-2c7b-4910-9028-4578ed52836d" providerId="ADAL" clId="{F0642C68-AF30-4CBF-BE63-B9B915665008}" dt="2019-06-06T15:47:47.028" v="2203" actId="1076"/>
          <ac:spMkLst>
            <pc:docMk/>
            <pc:sldMk cId="888234551" sldId="283"/>
            <ac:spMk id="28" creationId="{F2F44D81-A908-4C48-B415-69EF30601481}"/>
          </ac:spMkLst>
        </pc:spChg>
        <pc:spChg chg="del topLvl">
          <ac:chgData name="Moutaz Al-Huneidi" userId="ef06bd39-2c7b-4910-9028-4578ed52836d" providerId="ADAL" clId="{F0642C68-AF30-4CBF-BE63-B9B915665008}" dt="2019-06-06T14:39:12.942" v="1388" actId="478"/>
          <ac:spMkLst>
            <pc:docMk/>
            <pc:sldMk cId="888234551" sldId="283"/>
            <ac:spMk id="79" creationId="{263AE161-C609-45A5-B99F-DEFD5AE5618F}"/>
          </ac:spMkLst>
        </pc:spChg>
        <pc:spChg chg="mod topLvl">
          <ac:chgData name="Moutaz Al-Huneidi" userId="ef06bd39-2c7b-4910-9028-4578ed52836d" providerId="ADAL" clId="{F0642C68-AF30-4CBF-BE63-B9B915665008}" dt="2019-06-06T15:47:49.848" v="2204" actId="1076"/>
          <ac:spMkLst>
            <pc:docMk/>
            <pc:sldMk cId="888234551" sldId="283"/>
            <ac:spMk id="80" creationId="{94822F5C-60A0-4539-B7D3-6206D11B0F51}"/>
          </ac:spMkLst>
        </pc:spChg>
        <pc:spChg chg="del">
          <ac:chgData name="Moutaz Al-Huneidi" userId="ef06bd39-2c7b-4910-9028-4578ed52836d" providerId="ADAL" clId="{F0642C68-AF30-4CBF-BE63-B9B915665008}" dt="2019-06-06T17:50:49.252" v="2891" actId="478"/>
          <ac:spMkLst>
            <pc:docMk/>
            <pc:sldMk cId="888234551" sldId="283"/>
            <ac:spMk id="83" creationId="{790BEE4F-5522-41EE-9482-67813D69C4D0}"/>
          </ac:spMkLst>
        </pc:spChg>
        <pc:spChg chg="del">
          <ac:chgData name="Moutaz Al-Huneidi" userId="ef06bd39-2c7b-4910-9028-4578ed52836d" providerId="ADAL" clId="{F0642C68-AF30-4CBF-BE63-B9B915665008}" dt="2019-06-06T14:45:08.529" v="1409" actId="478"/>
          <ac:spMkLst>
            <pc:docMk/>
            <pc:sldMk cId="888234551" sldId="283"/>
            <ac:spMk id="84" creationId="{00F12A1D-EA79-4536-BC02-4570DB1FD084}"/>
          </ac:spMkLst>
        </pc:spChg>
        <pc:spChg chg="del mod">
          <ac:chgData name="Moutaz Al-Huneidi" userId="ef06bd39-2c7b-4910-9028-4578ed52836d" providerId="ADAL" clId="{F0642C68-AF30-4CBF-BE63-B9B915665008}" dt="2019-06-06T14:45:34.607" v="1425" actId="478"/>
          <ac:spMkLst>
            <pc:docMk/>
            <pc:sldMk cId="888234551" sldId="283"/>
            <ac:spMk id="85" creationId="{2309B302-5367-46EA-9FB7-27A34413F68F}"/>
          </ac:spMkLst>
        </pc:spChg>
        <pc:spChg chg="mod">
          <ac:chgData name="Moutaz Al-Huneidi" userId="ef06bd39-2c7b-4910-9028-4578ed52836d" providerId="ADAL" clId="{F0642C68-AF30-4CBF-BE63-B9B915665008}" dt="2019-06-06T15:47:56.676" v="2205" actId="1076"/>
          <ac:spMkLst>
            <pc:docMk/>
            <pc:sldMk cId="888234551" sldId="283"/>
            <ac:spMk id="86" creationId="{6DE065CE-B6AB-4D87-A109-E940A359AA5B}"/>
          </ac:spMkLst>
        </pc:spChg>
        <pc:spChg chg="mod">
          <ac:chgData name="Moutaz Al-Huneidi" userId="ef06bd39-2c7b-4910-9028-4578ed52836d" providerId="ADAL" clId="{F0642C68-AF30-4CBF-BE63-B9B915665008}" dt="2019-06-06T15:48:02.636" v="2206" actId="1076"/>
          <ac:spMkLst>
            <pc:docMk/>
            <pc:sldMk cId="888234551" sldId="283"/>
            <ac:spMk id="87" creationId="{20B7651C-FFD2-4D58-AA0D-DEC192A60ACF}"/>
          </ac:spMkLst>
        </pc:spChg>
        <pc:grpChg chg="mod">
          <ac:chgData name="Moutaz Al-Huneidi" userId="ef06bd39-2c7b-4910-9028-4578ed52836d" providerId="ADAL" clId="{F0642C68-AF30-4CBF-BE63-B9B915665008}" dt="2019-06-06T14:47:01.541" v="1462" actId="1076"/>
          <ac:grpSpMkLst>
            <pc:docMk/>
            <pc:sldMk cId="888234551" sldId="283"/>
            <ac:grpSpMk id="74" creationId="{5D8347AD-1DDE-4D78-A152-20E3A7C53E77}"/>
          </ac:grpSpMkLst>
        </pc:grpChg>
        <pc:grpChg chg="add del">
          <ac:chgData name="Moutaz Al-Huneidi" userId="ef06bd39-2c7b-4910-9028-4578ed52836d" providerId="ADAL" clId="{F0642C68-AF30-4CBF-BE63-B9B915665008}" dt="2019-06-06T14:39:12.942" v="1388" actId="478"/>
          <ac:grpSpMkLst>
            <pc:docMk/>
            <pc:sldMk cId="888234551" sldId="283"/>
            <ac:grpSpMk id="77" creationId="{21C78CC2-597D-445A-8FF4-49A7328927DC}"/>
          </ac:grpSpMkLst>
        </pc:grpChg>
        <pc:grpChg chg="del">
          <ac:chgData name="Moutaz Al-Huneidi" userId="ef06bd39-2c7b-4910-9028-4578ed52836d" providerId="ADAL" clId="{F0642C68-AF30-4CBF-BE63-B9B915665008}" dt="2019-06-06T14:39:10.826" v="1387" actId="478"/>
          <ac:grpSpMkLst>
            <pc:docMk/>
            <pc:sldMk cId="888234551" sldId="283"/>
            <ac:grpSpMk id="78" creationId="{F6F98645-CF73-44A0-AE35-6D24365C6DEC}"/>
          </ac:grpSpMkLst>
        </pc:grpChg>
        <pc:picChg chg="add mod">
          <ac:chgData name="Moutaz Al-Huneidi" userId="ef06bd39-2c7b-4910-9028-4578ed52836d" providerId="ADAL" clId="{F0642C68-AF30-4CBF-BE63-B9B915665008}" dt="2019-06-06T15:47:41.355" v="2199" actId="207"/>
          <ac:picMkLst>
            <pc:docMk/>
            <pc:sldMk cId="888234551" sldId="283"/>
            <ac:picMk id="3" creationId="{95363DFE-947A-40D6-8821-DC22DC8CD644}"/>
          </ac:picMkLst>
        </pc:picChg>
        <pc:picChg chg="add mod">
          <ac:chgData name="Moutaz Al-Huneidi" userId="ef06bd39-2c7b-4910-9028-4578ed52836d" providerId="ADAL" clId="{F0642C68-AF30-4CBF-BE63-B9B915665008}" dt="2019-06-06T15:47:41.355" v="2199" actId="207"/>
          <ac:picMkLst>
            <pc:docMk/>
            <pc:sldMk cId="888234551" sldId="283"/>
            <ac:picMk id="7" creationId="{71AC36DB-BED3-4A62-A4E0-A5D862B33278}"/>
          </ac:picMkLst>
        </pc:picChg>
        <pc:picChg chg="add mod">
          <ac:chgData name="Moutaz Al-Huneidi" userId="ef06bd39-2c7b-4910-9028-4578ed52836d" providerId="ADAL" clId="{F0642C68-AF30-4CBF-BE63-B9B915665008}" dt="2019-06-06T15:47:41.355" v="2199" actId="207"/>
          <ac:picMkLst>
            <pc:docMk/>
            <pc:sldMk cId="888234551" sldId="283"/>
            <ac:picMk id="9" creationId="{5E95BB77-2EC7-466A-B563-CCB890962B08}"/>
          </ac:picMkLst>
        </pc:picChg>
        <pc:picChg chg="add mod">
          <ac:chgData name="Moutaz Al-Huneidi" userId="ef06bd39-2c7b-4910-9028-4578ed52836d" providerId="ADAL" clId="{F0642C68-AF30-4CBF-BE63-B9B915665008}" dt="2019-06-06T14:44:01.341" v="1398" actId="571"/>
          <ac:picMkLst>
            <pc:docMk/>
            <pc:sldMk cId="888234551" sldId="283"/>
            <ac:picMk id="25" creationId="{C86E4E11-4229-44A3-BF0A-6E03612D556F}"/>
          </ac:picMkLst>
        </pc:picChg>
        <pc:picChg chg="add mod">
          <ac:chgData name="Moutaz Al-Huneidi" userId="ef06bd39-2c7b-4910-9028-4578ed52836d" providerId="ADAL" clId="{F0642C68-AF30-4CBF-BE63-B9B915665008}" dt="2019-06-06T14:44:01.341" v="1398" actId="571"/>
          <ac:picMkLst>
            <pc:docMk/>
            <pc:sldMk cId="888234551" sldId="283"/>
            <ac:picMk id="26" creationId="{8D146379-A12C-4C7E-8843-FBFB1394B5E7}"/>
          </ac:picMkLst>
        </pc:picChg>
        <pc:picChg chg="mod">
          <ac:chgData name="Moutaz Al-Huneidi" userId="ef06bd39-2c7b-4910-9028-4578ed52836d" providerId="ADAL" clId="{F0642C68-AF30-4CBF-BE63-B9B915665008}" dt="2019-06-06T14:47:32.887" v="1463"/>
          <ac:picMkLst>
            <pc:docMk/>
            <pc:sldMk cId="888234551" sldId="283"/>
            <ac:picMk id="76" creationId="{932924E2-0E20-4439-9A96-6AA1549B2E2B}"/>
          </ac:picMkLst>
        </pc:picChg>
        <pc:picChg chg="del">
          <ac:chgData name="Moutaz Al-Huneidi" userId="ef06bd39-2c7b-4910-9028-4578ed52836d" providerId="ADAL" clId="{F0642C68-AF30-4CBF-BE63-B9B915665008}" dt="2019-06-06T14:39:10.826" v="1387" actId="478"/>
          <ac:picMkLst>
            <pc:docMk/>
            <pc:sldMk cId="888234551" sldId="283"/>
            <ac:picMk id="81" creationId="{2B950A1A-A437-451E-80A2-1586E6B7928C}"/>
          </ac:picMkLst>
        </pc:picChg>
        <pc:picChg chg="add del">
          <ac:chgData name="Moutaz Al-Huneidi" userId="ef06bd39-2c7b-4910-9028-4578ed52836d" providerId="ADAL" clId="{F0642C68-AF30-4CBF-BE63-B9B915665008}" dt="2019-06-06T14:39:13.792" v="1389" actId="478"/>
          <ac:picMkLst>
            <pc:docMk/>
            <pc:sldMk cId="888234551" sldId="283"/>
            <ac:picMk id="82" creationId="{07828FB4-9D6A-49C3-AD62-7B9DE8A49B7D}"/>
          </ac:picMkLst>
        </pc:picChg>
        <pc:picChg chg="del">
          <ac:chgData name="Moutaz Al-Huneidi" userId="ef06bd39-2c7b-4910-9028-4578ed52836d" providerId="ADAL" clId="{F0642C68-AF30-4CBF-BE63-B9B915665008}" dt="2019-06-06T14:39:14.684" v="1390" actId="478"/>
          <ac:picMkLst>
            <pc:docMk/>
            <pc:sldMk cId="888234551" sldId="283"/>
            <ac:picMk id="88" creationId="{1EABFB1F-3265-4762-917A-E47D3A68FF3C}"/>
          </ac:picMkLst>
        </pc:picChg>
      </pc:sldChg>
      <pc:sldChg chg="addSp delSp modSp add modAnim">
        <pc:chgData name="Moutaz Al-Huneidi" userId="ef06bd39-2c7b-4910-9028-4578ed52836d" providerId="ADAL" clId="{F0642C68-AF30-4CBF-BE63-B9B915665008}" dt="2019-06-06T17:40:24.965" v="2762"/>
        <pc:sldMkLst>
          <pc:docMk/>
          <pc:sldMk cId="3211345518" sldId="284"/>
        </pc:sldMkLst>
        <pc:spChg chg="del">
          <ac:chgData name="Moutaz Al-Huneidi" userId="ef06bd39-2c7b-4910-9028-4578ed52836d" providerId="ADAL" clId="{F0642C68-AF30-4CBF-BE63-B9B915665008}" dt="2019-06-06T16:06:05.254" v="2257" actId="478"/>
          <ac:spMkLst>
            <pc:docMk/>
            <pc:sldMk cId="3211345518" sldId="284"/>
            <ac:spMk id="12" creationId="{F26F5EDE-8507-4AC4-A1DD-E53C811A5592}"/>
          </ac:spMkLst>
        </pc:spChg>
        <pc:spChg chg="del">
          <ac:chgData name="Moutaz Al-Huneidi" userId="ef06bd39-2c7b-4910-9028-4578ed52836d" providerId="ADAL" clId="{F0642C68-AF30-4CBF-BE63-B9B915665008}" dt="2019-06-06T16:06:03.850" v="2256" actId="478"/>
          <ac:spMkLst>
            <pc:docMk/>
            <pc:sldMk cId="3211345518" sldId="284"/>
            <ac:spMk id="34" creationId="{6A1EF08E-1783-4DB9-9001-BB430FAA2DB0}"/>
          </ac:spMkLst>
        </pc:spChg>
        <pc:spChg chg="add mod">
          <ac:chgData name="Moutaz Al-Huneidi" userId="ef06bd39-2c7b-4910-9028-4578ed52836d" providerId="ADAL" clId="{F0642C68-AF30-4CBF-BE63-B9B915665008}" dt="2019-06-06T17:35:49.796" v="2562" actId="113"/>
          <ac:spMkLst>
            <pc:docMk/>
            <pc:sldMk cId="3211345518" sldId="284"/>
            <ac:spMk id="39" creationId="{329BBF5F-4B61-4419-8225-C34C5C0FD75D}"/>
          </ac:spMkLst>
        </pc:spChg>
        <pc:spChg chg="mod">
          <ac:chgData name="Moutaz Al-Huneidi" userId="ef06bd39-2c7b-4910-9028-4578ed52836d" providerId="ADAL" clId="{F0642C68-AF30-4CBF-BE63-B9B915665008}" dt="2019-06-06T17:32:15.013" v="2504" actId="1036"/>
          <ac:spMkLst>
            <pc:docMk/>
            <pc:sldMk cId="3211345518" sldId="284"/>
            <ac:spMk id="51" creationId="{0D294965-80D3-443D-94F7-545DE3C71F93}"/>
          </ac:spMkLst>
        </pc:spChg>
        <pc:spChg chg="mod">
          <ac:chgData name="Moutaz Al-Huneidi" userId="ef06bd39-2c7b-4910-9028-4578ed52836d" providerId="ADAL" clId="{F0642C68-AF30-4CBF-BE63-B9B915665008}" dt="2019-06-06T17:32:15.013" v="2504" actId="1036"/>
          <ac:spMkLst>
            <pc:docMk/>
            <pc:sldMk cId="3211345518" sldId="284"/>
            <ac:spMk id="52" creationId="{145F5193-08A4-4FC5-9E33-5A4AAE8E97CB}"/>
          </ac:spMkLst>
        </pc:spChg>
        <pc:spChg chg="mod">
          <ac:chgData name="Moutaz Al-Huneidi" userId="ef06bd39-2c7b-4910-9028-4578ed52836d" providerId="ADAL" clId="{F0642C68-AF30-4CBF-BE63-B9B915665008}" dt="2019-06-06T17:32:15.013" v="2504" actId="1036"/>
          <ac:spMkLst>
            <pc:docMk/>
            <pc:sldMk cId="3211345518" sldId="284"/>
            <ac:spMk id="53" creationId="{5B4B1AE8-368B-4170-8002-B7EAC777B279}"/>
          </ac:spMkLst>
        </pc:spChg>
        <pc:spChg chg="mod">
          <ac:chgData name="Moutaz Al-Huneidi" userId="ef06bd39-2c7b-4910-9028-4578ed52836d" providerId="ADAL" clId="{F0642C68-AF30-4CBF-BE63-B9B915665008}" dt="2019-06-06T17:32:15.013" v="2504" actId="1036"/>
          <ac:spMkLst>
            <pc:docMk/>
            <pc:sldMk cId="3211345518" sldId="284"/>
            <ac:spMk id="54" creationId="{5A7FCA49-8B51-4385-8374-3E35CF840C07}"/>
          </ac:spMkLst>
        </pc:spChg>
        <pc:spChg chg="mod">
          <ac:chgData name="Moutaz Al-Huneidi" userId="ef06bd39-2c7b-4910-9028-4578ed52836d" providerId="ADAL" clId="{F0642C68-AF30-4CBF-BE63-B9B915665008}" dt="2019-06-06T17:32:15.013" v="2504" actId="1036"/>
          <ac:spMkLst>
            <pc:docMk/>
            <pc:sldMk cId="3211345518" sldId="284"/>
            <ac:spMk id="55" creationId="{3C08838C-9C1A-42B3-8B58-8F9961CD71C2}"/>
          </ac:spMkLst>
        </pc:spChg>
        <pc:spChg chg="mod">
          <ac:chgData name="Moutaz Al-Huneidi" userId="ef06bd39-2c7b-4910-9028-4578ed52836d" providerId="ADAL" clId="{F0642C68-AF30-4CBF-BE63-B9B915665008}" dt="2019-06-06T17:32:15.013" v="2504" actId="1036"/>
          <ac:spMkLst>
            <pc:docMk/>
            <pc:sldMk cId="3211345518" sldId="284"/>
            <ac:spMk id="56" creationId="{4DB80594-5A68-461F-9ECA-068895EDD447}"/>
          </ac:spMkLst>
        </pc:spChg>
        <pc:spChg chg="mod">
          <ac:chgData name="Moutaz Al-Huneidi" userId="ef06bd39-2c7b-4910-9028-4578ed52836d" providerId="ADAL" clId="{F0642C68-AF30-4CBF-BE63-B9B915665008}" dt="2019-06-06T17:32:15.013" v="2504" actId="1036"/>
          <ac:spMkLst>
            <pc:docMk/>
            <pc:sldMk cId="3211345518" sldId="284"/>
            <ac:spMk id="57" creationId="{AAD5BD21-0727-484E-9844-E7F7CA4F01F5}"/>
          </ac:spMkLst>
        </pc:spChg>
        <pc:spChg chg="mod">
          <ac:chgData name="Moutaz Al-Huneidi" userId="ef06bd39-2c7b-4910-9028-4578ed52836d" providerId="ADAL" clId="{F0642C68-AF30-4CBF-BE63-B9B915665008}" dt="2019-06-06T17:32:15.013" v="2504" actId="1036"/>
          <ac:spMkLst>
            <pc:docMk/>
            <pc:sldMk cId="3211345518" sldId="284"/>
            <ac:spMk id="58" creationId="{05D88343-8C61-45C7-B709-4E52DB751AD5}"/>
          </ac:spMkLst>
        </pc:spChg>
        <pc:spChg chg="mod">
          <ac:chgData name="Moutaz Al-Huneidi" userId="ef06bd39-2c7b-4910-9028-4578ed52836d" providerId="ADAL" clId="{F0642C68-AF30-4CBF-BE63-B9B915665008}" dt="2019-06-06T17:32:15.013" v="2504" actId="1036"/>
          <ac:spMkLst>
            <pc:docMk/>
            <pc:sldMk cId="3211345518" sldId="284"/>
            <ac:spMk id="59" creationId="{84BFC55F-4C22-4D7D-8072-BFB9139728AB}"/>
          </ac:spMkLst>
        </pc:spChg>
        <pc:spChg chg="mod">
          <ac:chgData name="Moutaz Al-Huneidi" userId="ef06bd39-2c7b-4910-9028-4578ed52836d" providerId="ADAL" clId="{F0642C68-AF30-4CBF-BE63-B9B915665008}" dt="2019-06-06T17:32:15.013" v="2504" actId="1036"/>
          <ac:spMkLst>
            <pc:docMk/>
            <pc:sldMk cId="3211345518" sldId="284"/>
            <ac:spMk id="60" creationId="{CDCD0A46-2506-4E11-BB70-7C9168E05DB0}"/>
          </ac:spMkLst>
        </pc:spChg>
        <pc:spChg chg="mod">
          <ac:chgData name="Moutaz Al-Huneidi" userId="ef06bd39-2c7b-4910-9028-4578ed52836d" providerId="ADAL" clId="{F0642C68-AF30-4CBF-BE63-B9B915665008}" dt="2019-06-06T17:32:15.013" v="2504" actId="1036"/>
          <ac:spMkLst>
            <pc:docMk/>
            <pc:sldMk cId="3211345518" sldId="284"/>
            <ac:spMk id="61" creationId="{8E84FC9B-7830-49B4-BD88-8FED011421C0}"/>
          </ac:spMkLst>
        </pc:spChg>
        <pc:spChg chg="mod">
          <ac:chgData name="Moutaz Al-Huneidi" userId="ef06bd39-2c7b-4910-9028-4578ed52836d" providerId="ADAL" clId="{F0642C68-AF30-4CBF-BE63-B9B915665008}" dt="2019-06-06T17:32:15.013" v="2504" actId="1036"/>
          <ac:spMkLst>
            <pc:docMk/>
            <pc:sldMk cId="3211345518" sldId="284"/>
            <ac:spMk id="62" creationId="{BC9F4F78-CCAC-48A6-946C-857BD31C32C3}"/>
          </ac:spMkLst>
        </pc:spChg>
        <pc:spChg chg="mod">
          <ac:chgData name="Moutaz Al-Huneidi" userId="ef06bd39-2c7b-4910-9028-4578ed52836d" providerId="ADAL" clId="{F0642C68-AF30-4CBF-BE63-B9B915665008}" dt="2019-06-06T17:32:15.013" v="2504" actId="1036"/>
          <ac:spMkLst>
            <pc:docMk/>
            <pc:sldMk cId="3211345518" sldId="284"/>
            <ac:spMk id="63" creationId="{5F4688CA-22BF-4877-8356-9FA9BC2F60C0}"/>
          </ac:spMkLst>
        </pc:spChg>
        <pc:spChg chg="mod">
          <ac:chgData name="Moutaz Al-Huneidi" userId="ef06bd39-2c7b-4910-9028-4578ed52836d" providerId="ADAL" clId="{F0642C68-AF30-4CBF-BE63-B9B915665008}" dt="2019-06-06T17:32:15.013" v="2504" actId="1036"/>
          <ac:spMkLst>
            <pc:docMk/>
            <pc:sldMk cId="3211345518" sldId="284"/>
            <ac:spMk id="64" creationId="{2967CACD-C2D0-4DB5-B193-7563323C1EFB}"/>
          </ac:spMkLst>
        </pc:spChg>
        <pc:spChg chg="mod">
          <ac:chgData name="Moutaz Al-Huneidi" userId="ef06bd39-2c7b-4910-9028-4578ed52836d" providerId="ADAL" clId="{F0642C68-AF30-4CBF-BE63-B9B915665008}" dt="2019-06-06T17:32:15.013" v="2504" actId="1036"/>
          <ac:spMkLst>
            <pc:docMk/>
            <pc:sldMk cId="3211345518" sldId="284"/>
            <ac:spMk id="65" creationId="{B5CB0E8E-0EB0-4141-91C4-5E351F33885C}"/>
          </ac:spMkLst>
        </pc:spChg>
        <pc:spChg chg="mod">
          <ac:chgData name="Moutaz Al-Huneidi" userId="ef06bd39-2c7b-4910-9028-4578ed52836d" providerId="ADAL" clId="{F0642C68-AF30-4CBF-BE63-B9B915665008}" dt="2019-06-06T17:32:15.013" v="2504" actId="1036"/>
          <ac:spMkLst>
            <pc:docMk/>
            <pc:sldMk cId="3211345518" sldId="284"/>
            <ac:spMk id="66" creationId="{47CDDC17-5A31-47C1-BE27-9FB1AA209CA2}"/>
          </ac:spMkLst>
        </pc:spChg>
        <pc:spChg chg="mod">
          <ac:chgData name="Moutaz Al-Huneidi" userId="ef06bd39-2c7b-4910-9028-4578ed52836d" providerId="ADAL" clId="{F0642C68-AF30-4CBF-BE63-B9B915665008}" dt="2019-06-06T17:32:15.013" v="2504" actId="1036"/>
          <ac:spMkLst>
            <pc:docMk/>
            <pc:sldMk cId="3211345518" sldId="284"/>
            <ac:spMk id="67" creationId="{C33F5C8E-45A6-4A40-A08F-AAD4CA8369E9}"/>
          </ac:spMkLst>
        </pc:spChg>
        <pc:spChg chg="add mod">
          <ac:chgData name="Moutaz Al-Huneidi" userId="ef06bd39-2c7b-4910-9028-4578ed52836d" providerId="ADAL" clId="{F0642C68-AF30-4CBF-BE63-B9B915665008}" dt="2019-06-06T17:33:08.670" v="2545" actId="1076"/>
          <ac:spMkLst>
            <pc:docMk/>
            <pc:sldMk cId="3211345518" sldId="284"/>
            <ac:spMk id="68" creationId="{623A222A-80A3-43A1-A23D-81DD41ADAFDE}"/>
          </ac:spMkLst>
        </pc:spChg>
        <pc:spChg chg="add mod">
          <ac:chgData name="Moutaz Al-Huneidi" userId="ef06bd39-2c7b-4910-9028-4578ed52836d" providerId="ADAL" clId="{F0642C68-AF30-4CBF-BE63-B9B915665008}" dt="2019-06-06T17:40:06.306" v="2760" actId="20577"/>
          <ac:spMkLst>
            <pc:docMk/>
            <pc:sldMk cId="3211345518" sldId="284"/>
            <ac:spMk id="69" creationId="{05E21481-44E7-4030-8DF6-BE8E78F287A5}"/>
          </ac:spMkLst>
        </pc:spChg>
        <pc:spChg chg="mod">
          <ac:chgData name="Moutaz Al-Huneidi" userId="ef06bd39-2c7b-4910-9028-4578ed52836d" providerId="ADAL" clId="{F0642C68-AF30-4CBF-BE63-B9B915665008}" dt="2019-06-06T17:33:00.872" v="2543" actId="122"/>
          <ac:spMkLst>
            <pc:docMk/>
            <pc:sldMk cId="3211345518" sldId="284"/>
            <ac:spMk id="70" creationId="{C801A103-76A0-43BE-A0E4-64F540B6AAD5}"/>
          </ac:spMkLst>
        </pc:spChg>
        <pc:spChg chg="mod">
          <ac:chgData name="Moutaz Al-Huneidi" userId="ef06bd39-2c7b-4910-9028-4578ed52836d" providerId="ADAL" clId="{F0642C68-AF30-4CBF-BE63-B9B915665008}" dt="2019-06-06T17:32:15.013" v="2504" actId="1036"/>
          <ac:spMkLst>
            <pc:docMk/>
            <pc:sldMk cId="3211345518" sldId="284"/>
            <ac:spMk id="71" creationId="{64368B3A-33A3-4E09-9720-1229307E8590}"/>
          </ac:spMkLst>
        </pc:spChg>
        <pc:spChg chg="add del">
          <ac:chgData name="Moutaz Al-Huneidi" userId="ef06bd39-2c7b-4910-9028-4578ed52836d" providerId="ADAL" clId="{F0642C68-AF30-4CBF-BE63-B9B915665008}" dt="2019-06-06T16:06:01.012" v="2254" actId="478"/>
          <ac:spMkLst>
            <pc:docMk/>
            <pc:sldMk cId="3211345518" sldId="284"/>
            <ac:spMk id="72" creationId="{08991A41-8E5F-405A-95F0-D7937CD884DC}"/>
          </ac:spMkLst>
        </pc:spChg>
        <pc:spChg chg="add mod">
          <ac:chgData name="Moutaz Al-Huneidi" userId="ef06bd39-2c7b-4910-9028-4578ed52836d" providerId="ADAL" clId="{F0642C68-AF30-4CBF-BE63-B9B915665008}" dt="2019-06-06T17:32:57.617" v="2542" actId="122"/>
          <ac:spMkLst>
            <pc:docMk/>
            <pc:sldMk cId="3211345518" sldId="284"/>
            <ac:spMk id="73" creationId="{63B25CD3-697F-4216-8060-97594033C74A}"/>
          </ac:spMkLst>
        </pc:spChg>
        <pc:spChg chg="add mod">
          <ac:chgData name="Moutaz Al-Huneidi" userId="ef06bd39-2c7b-4910-9028-4578ed52836d" providerId="ADAL" clId="{F0642C68-AF30-4CBF-BE63-B9B915665008}" dt="2019-06-06T17:36:11.586" v="2564" actId="571"/>
          <ac:spMkLst>
            <pc:docMk/>
            <pc:sldMk cId="3211345518" sldId="284"/>
            <ac:spMk id="75" creationId="{84B2147D-BDF9-4DC8-8915-0ADC6340A145}"/>
          </ac:spMkLst>
        </pc:spChg>
        <pc:spChg chg="add mod">
          <ac:chgData name="Moutaz Al-Huneidi" userId="ef06bd39-2c7b-4910-9028-4578ed52836d" providerId="ADAL" clId="{F0642C68-AF30-4CBF-BE63-B9B915665008}" dt="2019-06-06T17:37:47.942" v="2719" actId="571"/>
          <ac:spMkLst>
            <pc:docMk/>
            <pc:sldMk cId="3211345518" sldId="284"/>
            <ac:spMk id="78" creationId="{408D6521-AFCF-4CD3-8927-85516133E19E}"/>
          </ac:spMkLst>
        </pc:spChg>
        <pc:spChg chg="add mod">
          <ac:chgData name="Moutaz Al-Huneidi" userId="ef06bd39-2c7b-4910-9028-4578ed52836d" providerId="ADAL" clId="{F0642C68-AF30-4CBF-BE63-B9B915665008}" dt="2019-06-06T17:39:38.765" v="2744" actId="20577"/>
          <ac:spMkLst>
            <pc:docMk/>
            <pc:sldMk cId="3211345518" sldId="284"/>
            <ac:spMk id="79" creationId="{0E91F928-36EE-4E42-B5DB-19361763C83F}"/>
          </ac:spMkLst>
        </pc:spChg>
        <pc:spChg chg="add mod">
          <ac:chgData name="Moutaz Al-Huneidi" userId="ef06bd39-2c7b-4910-9028-4578ed52836d" providerId="ADAL" clId="{F0642C68-AF30-4CBF-BE63-B9B915665008}" dt="2019-06-06T17:39:59.889" v="2759" actId="20577"/>
          <ac:spMkLst>
            <pc:docMk/>
            <pc:sldMk cId="3211345518" sldId="284"/>
            <ac:spMk id="80" creationId="{199A8B91-A820-45EC-94FE-D58C833FE20C}"/>
          </ac:spMkLst>
        </pc:spChg>
        <pc:graphicFrameChg chg="mod">
          <ac:chgData name="Moutaz Al-Huneidi" userId="ef06bd39-2c7b-4910-9028-4578ed52836d" providerId="ADAL" clId="{F0642C68-AF30-4CBF-BE63-B9B915665008}" dt="2019-06-06T17:32:15.013" v="2504" actId="1036"/>
          <ac:graphicFrameMkLst>
            <pc:docMk/>
            <pc:sldMk cId="3211345518" sldId="284"/>
            <ac:graphicFrameMk id="50" creationId="{1C45D7ED-6EB5-474D-828C-23724B923195}"/>
          </ac:graphicFrameMkLst>
        </pc:graphicFrameChg>
        <pc:picChg chg="add mod">
          <ac:chgData name="Moutaz Al-Huneidi" userId="ef06bd39-2c7b-4910-9028-4578ed52836d" providerId="ADAL" clId="{F0642C68-AF30-4CBF-BE63-B9B915665008}" dt="2019-06-06T17:32:15.013" v="2504" actId="1036"/>
          <ac:picMkLst>
            <pc:docMk/>
            <pc:sldMk cId="3211345518" sldId="284"/>
            <ac:picMk id="4" creationId="{2FCF2840-0056-4AB5-9386-888B1FC57E32}"/>
          </ac:picMkLst>
        </pc:picChg>
        <pc:picChg chg="add mod modCrop">
          <ac:chgData name="Moutaz Al-Huneidi" userId="ef06bd39-2c7b-4910-9028-4578ed52836d" providerId="ADAL" clId="{F0642C68-AF30-4CBF-BE63-B9B915665008}" dt="2019-06-06T17:32:15.013" v="2504" actId="1036"/>
          <ac:picMkLst>
            <pc:docMk/>
            <pc:sldMk cId="3211345518" sldId="284"/>
            <ac:picMk id="7" creationId="{2643FE49-1061-4E82-AAEF-1C2ED4A494AE}"/>
          </ac:picMkLst>
        </pc:picChg>
        <pc:picChg chg="del">
          <ac:chgData name="Moutaz Al-Huneidi" userId="ef06bd39-2c7b-4910-9028-4578ed52836d" providerId="ADAL" clId="{F0642C68-AF30-4CBF-BE63-B9B915665008}" dt="2019-06-06T16:06:01.762" v="2255" actId="478"/>
          <ac:picMkLst>
            <pc:docMk/>
            <pc:sldMk cId="3211345518" sldId="284"/>
            <ac:picMk id="10" creationId="{BC3FF711-2D5C-4BDA-9B5F-303F56E8D173}"/>
          </ac:picMkLst>
        </pc:picChg>
        <pc:picChg chg="add del mod">
          <ac:chgData name="Moutaz Al-Huneidi" userId="ef06bd39-2c7b-4910-9028-4578ed52836d" providerId="ADAL" clId="{F0642C68-AF30-4CBF-BE63-B9B915665008}" dt="2019-06-06T17:34:51.407" v="2556" actId="478"/>
          <ac:picMkLst>
            <pc:docMk/>
            <pc:sldMk cId="3211345518" sldId="284"/>
            <ac:picMk id="20" creationId="{ECFC56ED-7CA1-4AC8-A6E5-B26E365510D8}"/>
          </ac:picMkLst>
        </pc:picChg>
        <pc:picChg chg="add mod">
          <ac:chgData name="Moutaz Al-Huneidi" userId="ef06bd39-2c7b-4910-9028-4578ed52836d" providerId="ADAL" clId="{F0642C68-AF30-4CBF-BE63-B9B915665008}" dt="2019-06-06T17:35:44.017" v="2561" actId="207"/>
          <ac:picMkLst>
            <pc:docMk/>
            <pc:sldMk cId="3211345518" sldId="284"/>
            <ac:picMk id="22" creationId="{3E61B63E-4D1A-4DFC-A389-145B08569DE7}"/>
          </ac:picMkLst>
        </pc:picChg>
        <pc:picChg chg="add mod">
          <ac:chgData name="Moutaz Al-Huneidi" userId="ef06bd39-2c7b-4910-9028-4578ed52836d" providerId="ADAL" clId="{F0642C68-AF30-4CBF-BE63-B9B915665008}" dt="2019-06-06T17:37:43.074" v="2717" actId="1037"/>
          <ac:picMkLst>
            <pc:docMk/>
            <pc:sldMk cId="3211345518" sldId="284"/>
            <ac:picMk id="74" creationId="{8090123B-4C25-4985-A3B7-F2B2029AF6D9}"/>
          </ac:picMkLst>
        </pc:picChg>
        <pc:picChg chg="add del mod">
          <ac:chgData name="Moutaz Al-Huneidi" userId="ef06bd39-2c7b-4910-9028-4578ed52836d" providerId="ADAL" clId="{F0642C68-AF30-4CBF-BE63-B9B915665008}" dt="2019-06-06T17:37:17.943" v="2571" actId="478"/>
          <ac:picMkLst>
            <pc:docMk/>
            <pc:sldMk cId="3211345518" sldId="284"/>
            <ac:picMk id="76" creationId="{08D384F5-41A6-4869-9733-047F87C06AAA}"/>
          </ac:picMkLst>
        </pc:picChg>
        <pc:picChg chg="add mod">
          <ac:chgData name="Moutaz Al-Huneidi" userId="ef06bd39-2c7b-4910-9028-4578ed52836d" providerId="ADAL" clId="{F0642C68-AF30-4CBF-BE63-B9B915665008}" dt="2019-06-06T17:37:47.942" v="2719" actId="571"/>
          <ac:picMkLst>
            <pc:docMk/>
            <pc:sldMk cId="3211345518" sldId="284"/>
            <ac:picMk id="77" creationId="{ECE3EAD3-8F6D-4C33-B58B-16C0653978E5}"/>
          </ac:picMkLst>
        </pc:picChg>
        <pc:cxnChg chg="add del">
          <ac:chgData name="Moutaz Al-Huneidi" userId="ef06bd39-2c7b-4910-9028-4578ed52836d" providerId="ADAL" clId="{F0642C68-AF30-4CBF-BE63-B9B915665008}" dt="2019-06-06T16:05:59.479" v="2253" actId="478"/>
          <ac:cxnSpMkLst>
            <pc:docMk/>
            <pc:sldMk cId="3211345518" sldId="284"/>
            <ac:cxnSpMk id="3" creationId="{0F920A5A-9C4B-4B30-BD1A-1519A5BEA3B2}"/>
          </ac:cxnSpMkLst>
        </pc:cxnChg>
        <pc:cxnChg chg="add del mod">
          <ac:chgData name="Moutaz Al-Huneidi" userId="ef06bd39-2c7b-4910-9028-4578ed52836d" providerId="ADAL" clId="{F0642C68-AF30-4CBF-BE63-B9B915665008}" dt="2019-06-06T16:05:58.610" v="2252" actId="478"/>
          <ac:cxnSpMkLst>
            <pc:docMk/>
            <pc:sldMk cId="3211345518" sldId="284"/>
            <ac:cxnSpMk id="38" creationId="{A3B26C2A-CFAD-447B-9BE0-8DCFF2A448F5}"/>
          </ac:cxnSpMkLst>
        </pc:cxnChg>
        <pc:cxnChg chg="mod">
          <ac:chgData name="Moutaz Al-Huneidi" userId="ef06bd39-2c7b-4910-9028-4578ed52836d" providerId="ADAL" clId="{F0642C68-AF30-4CBF-BE63-B9B915665008}" dt="2019-06-06T17:32:15.013" v="2504" actId="1036"/>
          <ac:cxnSpMkLst>
            <pc:docMk/>
            <pc:sldMk cId="3211345518" sldId="284"/>
            <ac:cxnSpMk id="42" creationId="{5174F9DF-E7A3-4A57-9AC8-92E11E7D2EC2}"/>
          </ac:cxnSpMkLst>
        </pc:cxnChg>
        <pc:cxnChg chg="mod">
          <ac:chgData name="Moutaz Al-Huneidi" userId="ef06bd39-2c7b-4910-9028-4578ed52836d" providerId="ADAL" clId="{F0642C68-AF30-4CBF-BE63-B9B915665008}" dt="2019-06-06T17:32:15.013" v="2504" actId="1036"/>
          <ac:cxnSpMkLst>
            <pc:docMk/>
            <pc:sldMk cId="3211345518" sldId="284"/>
            <ac:cxnSpMk id="43" creationId="{418B7517-7067-43B2-A7E2-253FF68F9979}"/>
          </ac:cxnSpMkLst>
        </pc:cxnChg>
        <pc:cxnChg chg="mod">
          <ac:chgData name="Moutaz Al-Huneidi" userId="ef06bd39-2c7b-4910-9028-4578ed52836d" providerId="ADAL" clId="{F0642C68-AF30-4CBF-BE63-B9B915665008}" dt="2019-06-06T17:32:15.013" v="2504" actId="1036"/>
          <ac:cxnSpMkLst>
            <pc:docMk/>
            <pc:sldMk cId="3211345518" sldId="284"/>
            <ac:cxnSpMk id="44" creationId="{8509C374-8738-468A-8B03-427B30198E4D}"/>
          </ac:cxnSpMkLst>
        </pc:cxnChg>
        <pc:cxnChg chg="mod">
          <ac:chgData name="Moutaz Al-Huneidi" userId="ef06bd39-2c7b-4910-9028-4578ed52836d" providerId="ADAL" clId="{F0642C68-AF30-4CBF-BE63-B9B915665008}" dt="2019-06-06T17:32:15.013" v="2504" actId="1036"/>
          <ac:cxnSpMkLst>
            <pc:docMk/>
            <pc:sldMk cId="3211345518" sldId="284"/>
            <ac:cxnSpMk id="45" creationId="{5C5307DF-298F-4641-BFA4-92397570F3C0}"/>
          </ac:cxnSpMkLst>
        </pc:cxnChg>
        <pc:cxnChg chg="mod">
          <ac:chgData name="Moutaz Al-Huneidi" userId="ef06bd39-2c7b-4910-9028-4578ed52836d" providerId="ADAL" clId="{F0642C68-AF30-4CBF-BE63-B9B915665008}" dt="2019-06-06T17:32:15.013" v="2504" actId="1036"/>
          <ac:cxnSpMkLst>
            <pc:docMk/>
            <pc:sldMk cId="3211345518" sldId="284"/>
            <ac:cxnSpMk id="46" creationId="{15FA5A3A-2037-4E25-B3B4-51EAE1173A8D}"/>
          </ac:cxnSpMkLst>
        </pc:cxnChg>
        <pc:cxnChg chg="mod">
          <ac:chgData name="Moutaz Al-Huneidi" userId="ef06bd39-2c7b-4910-9028-4578ed52836d" providerId="ADAL" clId="{F0642C68-AF30-4CBF-BE63-B9B915665008}" dt="2019-06-06T17:32:15.013" v="2504" actId="1036"/>
          <ac:cxnSpMkLst>
            <pc:docMk/>
            <pc:sldMk cId="3211345518" sldId="284"/>
            <ac:cxnSpMk id="47" creationId="{9E5F82A0-438E-4457-81CA-BC602DE35735}"/>
          </ac:cxnSpMkLst>
        </pc:cxnChg>
        <pc:cxnChg chg="mod">
          <ac:chgData name="Moutaz Al-Huneidi" userId="ef06bd39-2c7b-4910-9028-4578ed52836d" providerId="ADAL" clId="{F0642C68-AF30-4CBF-BE63-B9B915665008}" dt="2019-06-06T17:32:15.013" v="2504" actId="1036"/>
          <ac:cxnSpMkLst>
            <pc:docMk/>
            <pc:sldMk cId="3211345518" sldId="284"/>
            <ac:cxnSpMk id="48" creationId="{76935F2D-E679-4845-BAD1-43B782346D55}"/>
          </ac:cxnSpMkLst>
        </pc:cxnChg>
        <pc:cxnChg chg="mod">
          <ac:chgData name="Moutaz Al-Huneidi" userId="ef06bd39-2c7b-4910-9028-4578ed52836d" providerId="ADAL" clId="{F0642C68-AF30-4CBF-BE63-B9B915665008}" dt="2019-06-06T17:32:15.013" v="2504" actId="1036"/>
          <ac:cxnSpMkLst>
            <pc:docMk/>
            <pc:sldMk cId="3211345518" sldId="284"/>
            <ac:cxnSpMk id="49" creationId="{4892068C-A98B-41F0-A08B-182826CC6A96}"/>
          </ac:cxnSpMkLst>
        </pc:cxnChg>
      </pc:sldChg>
      <pc:sldChg chg="modSp">
        <pc:chgData name="Moutaz Al-Huneidi" userId="ef06bd39-2c7b-4910-9028-4578ed52836d" providerId="ADAL" clId="{F0642C68-AF30-4CBF-BE63-B9B915665008}" dt="2019-06-06T20:45:51.215" v="3037" actId="1076"/>
        <pc:sldMkLst>
          <pc:docMk/>
          <pc:sldMk cId="3199071418" sldId="285"/>
        </pc:sldMkLst>
        <pc:picChg chg="mod">
          <ac:chgData name="Moutaz Al-Huneidi" userId="ef06bd39-2c7b-4910-9028-4578ed52836d" providerId="ADAL" clId="{F0642C68-AF30-4CBF-BE63-B9B915665008}" dt="2019-06-06T20:45:51.215" v="3037" actId="1076"/>
          <ac:picMkLst>
            <pc:docMk/>
            <pc:sldMk cId="3199071418" sldId="285"/>
            <ac:picMk id="3" creationId="{4873799D-21CB-4080-8587-59AEBDCE1727}"/>
          </ac:picMkLst>
        </pc:picChg>
      </pc:sldChg>
      <pc:sldChg chg="add del">
        <pc:chgData name="Moutaz Al-Huneidi" userId="ef06bd39-2c7b-4910-9028-4578ed52836d" providerId="ADAL" clId="{F0642C68-AF30-4CBF-BE63-B9B915665008}" dt="2019-06-06T17:40:41.215" v="2763" actId="2696"/>
        <pc:sldMkLst>
          <pc:docMk/>
          <pc:sldMk cId="739723284" sldId="286"/>
        </pc:sldMkLst>
      </pc:sldChg>
      <pc:sldMasterChg chg="del delSldLayout">
        <pc:chgData name="Moutaz Al-Huneidi" userId="ef06bd39-2c7b-4910-9028-4578ed52836d" providerId="ADAL" clId="{F0642C68-AF30-4CBF-BE63-B9B915665008}" dt="2019-06-06T15:47:29.127" v="2197" actId="2696"/>
        <pc:sldMasterMkLst>
          <pc:docMk/>
          <pc:sldMasterMk cId="2460954070" sldId="2147483660"/>
        </pc:sldMasterMkLst>
        <pc:sldLayoutChg chg="del">
          <pc:chgData name="Moutaz Al-Huneidi" userId="ef06bd39-2c7b-4910-9028-4578ed52836d" providerId="ADAL" clId="{F0642C68-AF30-4CBF-BE63-B9B915665008}" dt="2019-06-06T15:47:29.093" v="2186" actId="2696"/>
          <pc:sldLayoutMkLst>
            <pc:docMk/>
            <pc:sldMasterMk cId="2460954070" sldId="2147483660"/>
            <pc:sldLayoutMk cId="2385387890" sldId="2147483661"/>
          </pc:sldLayoutMkLst>
        </pc:sldLayoutChg>
        <pc:sldLayoutChg chg="del">
          <pc:chgData name="Moutaz Al-Huneidi" userId="ef06bd39-2c7b-4910-9028-4578ed52836d" providerId="ADAL" clId="{F0642C68-AF30-4CBF-BE63-B9B915665008}" dt="2019-06-06T15:47:29.095" v="2187" actId="2696"/>
          <pc:sldLayoutMkLst>
            <pc:docMk/>
            <pc:sldMasterMk cId="2460954070" sldId="2147483660"/>
            <pc:sldLayoutMk cId="949138452" sldId="2147483662"/>
          </pc:sldLayoutMkLst>
        </pc:sldLayoutChg>
        <pc:sldLayoutChg chg="del">
          <pc:chgData name="Moutaz Al-Huneidi" userId="ef06bd39-2c7b-4910-9028-4578ed52836d" providerId="ADAL" clId="{F0642C68-AF30-4CBF-BE63-B9B915665008}" dt="2019-06-06T15:47:29.097" v="2188" actId="2696"/>
          <pc:sldLayoutMkLst>
            <pc:docMk/>
            <pc:sldMasterMk cId="2460954070" sldId="2147483660"/>
            <pc:sldLayoutMk cId="2591524520" sldId="2147483663"/>
          </pc:sldLayoutMkLst>
        </pc:sldLayoutChg>
        <pc:sldLayoutChg chg="del">
          <pc:chgData name="Moutaz Al-Huneidi" userId="ef06bd39-2c7b-4910-9028-4578ed52836d" providerId="ADAL" clId="{F0642C68-AF30-4CBF-BE63-B9B915665008}" dt="2019-06-06T15:47:29.099" v="2189" actId="2696"/>
          <pc:sldLayoutMkLst>
            <pc:docMk/>
            <pc:sldMasterMk cId="2460954070" sldId="2147483660"/>
            <pc:sldLayoutMk cId="1203092039" sldId="2147483664"/>
          </pc:sldLayoutMkLst>
        </pc:sldLayoutChg>
        <pc:sldLayoutChg chg="del">
          <pc:chgData name="Moutaz Al-Huneidi" userId="ef06bd39-2c7b-4910-9028-4578ed52836d" providerId="ADAL" clId="{F0642C68-AF30-4CBF-BE63-B9B915665008}" dt="2019-06-06T15:47:29.104" v="2190" actId="2696"/>
          <pc:sldLayoutMkLst>
            <pc:docMk/>
            <pc:sldMasterMk cId="2460954070" sldId="2147483660"/>
            <pc:sldLayoutMk cId="3733172339" sldId="2147483665"/>
          </pc:sldLayoutMkLst>
        </pc:sldLayoutChg>
        <pc:sldLayoutChg chg="del">
          <pc:chgData name="Moutaz Al-Huneidi" userId="ef06bd39-2c7b-4910-9028-4578ed52836d" providerId="ADAL" clId="{F0642C68-AF30-4CBF-BE63-B9B915665008}" dt="2019-06-06T15:47:29.107" v="2191" actId="2696"/>
          <pc:sldLayoutMkLst>
            <pc:docMk/>
            <pc:sldMasterMk cId="2460954070" sldId="2147483660"/>
            <pc:sldLayoutMk cId="3210312558" sldId="2147483666"/>
          </pc:sldLayoutMkLst>
        </pc:sldLayoutChg>
        <pc:sldLayoutChg chg="del">
          <pc:chgData name="Moutaz Al-Huneidi" userId="ef06bd39-2c7b-4910-9028-4578ed52836d" providerId="ADAL" clId="{F0642C68-AF30-4CBF-BE63-B9B915665008}" dt="2019-06-06T15:47:29.109" v="2192" actId="2696"/>
          <pc:sldLayoutMkLst>
            <pc:docMk/>
            <pc:sldMasterMk cId="2460954070" sldId="2147483660"/>
            <pc:sldLayoutMk cId="3146388984" sldId="2147483667"/>
          </pc:sldLayoutMkLst>
        </pc:sldLayoutChg>
        <pc:sldLayoutChg chg="del">
          <pc:chgData name="Moutaz Al-Huneidi" userId="ef06bd39-2c7b-4910-9028-4578ed52836d" providerId="ADAL" clId="{F0642C68-AF30-4CBF-BE63-B9B915665008}" dt="2019-06-06T15:47:29.112" v="2193" actId="2696"/>
          <pc:sldLayoutMkLst>
            <pc:docMk/>
            <pc:sldMasterMk cId="2460954070" sldId="2147483660"/>
            <pc:sldLayoutMk cId="3171841454" sldId="2147483668"/>
          </pc:sldLayoutMkLst>
        </pc:sldLayoutChg>
        <pc:sldLayoutChg chg="del">
          <pc:chgData name="Moutaz Al-Huneidi" userId="ef06bd39-2c7b-4910-9028-4578ed52836d" providerId="ADAL" clId="{F0642C68-AF30-4CBF-BE63-B9B915665008}" dt="2019-06-06T15:47:29.114" v="2194" actId="2696"/>
          <pc:sldLayoutMkLst>
            <pc:docMk/>
            <pc:sldMasterMk cId="2460954070" sldId="2147483660"/>
            <pc:sldLayoutMk cId="1718958274" sldId="2147483669"/>
          </pc:sldLayoutMkLst>
        </pc:sldLayoutChg>
        <pc:sldLayoutChg chg="del">
          <pc:chgData name="Moutaz Al-Huneidi" userId="ef06bd39-2c7b-4910-9028-4578ed52836d" providerId="ADAL" clId="{F0642C68-AF30-4CBF-BE63-B9B915665008}" dt="2019-06-06T15:47:29.116" v="2195" actId="2696"/>
          <pc:sldLayoutMkLst>
            <pc:docMk/>
            <pc:sldMasterMk cId="2460954070" sldId="2147483660"/>
            <pc:sldLayoutMk cId="2202905451" sldId="2147483670"/>
          </pc:sldLayoutMkLst>
        </pc:sldLayoutChg>
        <pc:sldLayoutChg chg="del">
          <pc:chgData name="Moutaz Al-Huneidi" userId="ef06bd39-2c7b-4910-9028-4578ed52836d" providerId="ADAL" clId="{F0642C68-AF30-4CBF-BE63-B9B915665008}" dt="2019-06-06T15:47:29.122" v="2196" actId="2696"/>
          <pc:sldLayoutMkLst>
            <pc:docMk/>
            <pc:sldMasterMk cId="2460954070" sldId="2147483660"/>
            <pc:sldLayoutMk cId="3479445657" sldId="2147483671"/>
          </pc:sldLayoutMkLst>
        </pc:sldLayoutChg>
      </pc:sldMasterChg>
      <pc:sldMasterChg chg="modSldLayout">
        <pc:chgData name="Moutaz Al-Huneidi" userId="ef06bd39-2c7b-4910-9028-4578ed52836d" providerId="ADAL" clId="{F0642C68-AF30-4CBF-BE63-B9B915665008}" dt="2019-06-05T14:10:41.525" v="580"/>
        <pc:sldMasterMkLst>
          <pc:docMk/>
          <pc:sldMasterMk cId="1682422983" sldId="2147483672"/>
        </pc:sldMasterMkLst>
        <pc:sldLayoutChg chg="addSp">
          <pc:chgData name="Moutaz Al-Huneidi" userId="ef06bd39-2c7b-4910-9028-4578ed52836d" providerId="ADAL" clId="{F0642C68-AF30-4CBF-BE63-B9B915665008}" dt="2019-06-05T14:01:52.299" v="525"/>
          <pc:sldLayoutMkLst>
            <pc:docMk/>
            <pc:sldMasterMk cId="1682422983" sldId="2147483672"/>
            <pc:sldLayoutMk cId="2883402992" sldId="2147483673"/>
          </pc:sldLayoutMkLst>
          <pc:spChg chg="add">
            <ac:chgData name="Moutaz Al-Huneidi" userId="ef06bd39-2c7b-4910-9028-4578ed52836d" providerId="ADAL" clId="{F0642C68-AF30-4CBF-BE63-B9B915665008}" dt="2019-06-05T14:01:52.299" v="525"/>
            <ac:spMkLst>
              <pc:docMk/>
              <pc:sldMasterMk cId="1682422983" sldId="2147483672"/>
              <pc:sldLayoutMk cId="2883402992" sldId="2147483673"/>
              <ac:spMk id="10" creationId="{86BCA65B-A3AB-4333-8D7B-83C74FA48498}"/>
            </ac:spMkLst>
          </pc:spChg>
        </pc:sldLayoutChg>
        <pc:sldLayoutChg chg="addSp">
          <pc:chgData name="Moutaz Al-Huneidi" userId="ef06bd39-2c7b-4910-9028-4578ed52836d" providerId="ADAL" clId="{F0642C68-AF30-4CBF-BE63-B9B915665008}" dt="2019-06-05T14:01:53.480" v="526"/>
          <pc:sldLayoutMkLst>
            <pc:docMk/>
            <pc:sldMasterMk cId="1682422983" sldId="2147483672"/>
            <pc:sldLayoutMk cId="1789461639" sldId="2147483674"/>
          </pc:sldLayoutMkLst>
          <pc:spChg chg="add">
            <ac:chgData name="Moutaz Al-Huneidi" userId="ef06bd39-2c7b-4910-9028-4578ed52836d" providerId="ADAL" clId="{F0642C68-AF30-4CBF-BE63-B9B915665008}" dt="2019-06-05T14:01:53.480" v="526"/>
            <ac:spMkLst>
              <pc:docMk/>
              <pc:sldMasterMk cId="1682422983" sldId="2147483672"/>
              <pc:sldLayoutMk cId="1789461639" sldId="2147483674"/>
              <ac:spMk id="7" creationId="{64B90A99-0391-45AA-914C-1E1FC969A6B9}"/>
            </ac:spMkLst>
          </pc:spChg>
        </pc:sldLayoutChg>
        <pc:sldLayoutChg chg="addSp">
          <pc:chgData name="Moutaz Al-Huneidi" userId="ef06bd39-2c7b-4910-9028-4578ed52836d" providerId="ADAL" clId="{F0642C68-AF30-4CBF-BE63-B9B915665008}" dt="2019-06-05T14:01:54.271" v="527"/>
          <pc:sldLayoutMkLst>
            <pc:docMk/>
            <pc:sldMasterMk cId="1682422983" sldId="2147483672"/>
            <pc:sldLayoutMk cId="1960769866" sldId="2147483675"/>
          </pc:sldLayoutMkLst>
          <pc:spChg chg="add">
            <ac:chgData name="Moutaz Al-Huneidi" userId="ef06bd39-2c7b-4910-9028-4578ed52836d" providerId="ADAL" clId="{F0642C68-AF30-4CBF-BE63-B9B915665008}" dt="2019-06-05T14:01:54.271" v="527"/>
            <ac:spMkLst>
              <pc:docMk/>
              <pc:sldMasterMk cId="1682422983" sldId="2147483672"/>
              <pc:sldLayoutMk cId="1960769866" sldId="2147483675"/>
              <ac:spMk id="7" creationId="{94FF4968-F8A7-4CA1-9E55-3DA81ED9222B}"/>
            </ac:spMkLst>
          </pc:spChg>
        </pc:sldLayoutChg>
        <pc:sldLayoutChg chg="addSp">
          <pc:chgData name="Moutaz Al-Huneidi" userId="ef06bd39-2c7b-4910-9028-4578ed52836d" providerId="ADAL" clId="{F0642C68-AF30-4CBF-BE63-B9B915665008}" dt="2019-06-05T14:01:55.429" v="528"/>
          <pc:sldLayoutMkLst>
            <pc:docMk/>
            <pc:sldMasterMk cId="1682422983" sldId="2147483672"/>
            <pc:sldLayoutMk cId="1628281369" sldId="2147483676"/>
          </pc:sldLayoutMkLst>
          <pc:spChg chg="add">
            <ac:chgData name="Moutaz Al-Huneidi" userId="ef06bd39-2c7b-4910-9028-4578ed52836d" providerId="ADAL" clId="{F0642C68-AF30-4CBF-BE63-B9B915665008}" dt="2019-06-05T14:01:55.429" v="528"/>
            <ac:spMkLst>
              <pc:docMk/>
              <pc:sldMasterMk cId="1682422983" sldId="2147483672"/>
              <pc:sldLayoutMk cId="1628281369" sldId="2147483676"/>
              <ac:spMk id="8" creationId="{10C6B3B8-2000-4B0A-A0BA-F79C3B09D620}"/>
            </ac:spMkLst>
          </pc:spChg>
        </pc:sldLayoutChg>
        <pc:sldLayoutChg chg="addSp">
          <pc:chgData name="Moutaz Al-Huneidi" userId="ef06bd39-2c7b-4910-9028-4578ed52836d" providerId="ADAL" clId="{F0642C68-AF30-4CBF-BE63-B9B915665008}" dt="2019-06-05T14:01:56.587" v="529"/>
          <pc:sldLayoutMkLst>
            <pc:docMk/>
            <pc:sldMasterMk cId="1682422983" sldId="2147483672"/>
            <pc:sldLayoutMk cId="3074799350" sldId="2147483677"/>
          </pc:sldLayoutMkLst>
          <pc:spChg chg="add">
            <ac:chgData name="Moutaz Al-Huneidi" userId="ef06bd39-2c7b-4910-9028-4578ed52836d" providerId="ADAL" clId="{F0642C68-AF30-4CBF-BE63-B9B915665008}" dt="2019-06-05T14:01:56.587" v="529"/>
            <ac:spMkLst>
              <pc:docMk/>
              <pc:sldMasterMk cId="1682422983" sldId="2147483672"/>
              <pc:sldLayoutMk cId="3074799350" sldId="2147483677"/>
              <ac:spMk id="13" creationId="{7ED035E7-67A7-4383-9EB7-21ADB27A11A9}"/>
            </ac:spMkLst>
          </pc:spChg>
        </pc:sldLayoutChg>
        <pc:sldLayoutChg chg="addSp">
          <pc:chgData name="Moutaz Al-Huneidi" userId="ef06bd39-2c7b-4910-9028-4578ed52836d" providerId="ADAL" clId="{F0642C68-AF30-4CBF-BE63-B9B915665008}" dt="2019-06-05T14:01:57.717" v="530"/>
          <pc:sldLayoutMkLst>
            <pc:docMk/>
            <pc:sldMasterMk cId="1682422983" sldId="2147483672"/>
            <pc:sldLayoutMk cId="129584813" sldId="2147483678"/>
          </pc:sldLayoutMkLst>
          <pc:spChg chg="add">
            <ac:chgData name="Moutaz Al-Huneidi" userId="ef06bd39-2c7b-4910-9028-4578ed52836d" providerId="ADAL" clId="{F0642C68-AF30-4CBF-BE63-B9B915665008}" dt="2019-06-05T14:01:57.717" v="530"/>
            <ac:spMkLst>
              <pc:docMk/>
              <pc:sldMasterMk cId="1682422983" sldId="2147483672"/>
              <pc:sldLayoutMk cId="129584813" sldId="2147483678"/>
              <ac:spMk id="10" creationId="{A7BAFA57-A073-4F77-BD4B-B838F52BE40C}"/>
            </ac:spMkLst>
          </pc:spChg>
        </pc:sldLayoutChg>
        <pc:sldLayoutChg chg="addSp">
          <pc:chgData name="Moutaz Al-Huneidi" userId="ef06bd39-2c7b-4910-9028-4578ed52836d" providerId="ADAL" clId="{F0642C68-AF30-4CBF-BE63-B9B915665008}" dt="2019-06-05T14:01:59.514" v="531"/>
          <pc:sldLayoutMkLst>
            <pc:docMk/>
            <pc:sldMasterMk cId="1682422983" sldId="2147483672"/>
            <pc:sldLayoutMk cId="732298998" sldId="2147483679"/>
          </pc:sldLayoutMkLst>
          <pc:spChg chg="add">
            <ac:chgData name="Moutaz Al-Huneidi" userId="ef06bd39-2c7b-4910-9028-4578ed52836d" providerId="ADAL" clId="{F0642C68-AF30-4CBF-BE63-B9B915665008}" dt="2019-06-05T14:01:59.514" v="531"/>
            <ac:spMkLst>
              <pc:docMk/>
              <pc:sldMasterMk cId="1682422983" sldId="2147483672"/>
              <pc:sldLayoutMk cId="732298998" sldId="2147483679"/>
              <ac:spMk id="7" creationId="{36C69652-C753-4D16-BE2E-8C6B9DFED9D1}"/>
            </ac:spMkLst>
          </pc:spChg>
        </pc:sldLayoutChg>
        <pc:sldLayoutChg chg="addSp">
          <pc:chgData name="Moutaz Al-Huneidi" userId="ef06bd39-2c7b-4910-9028-4578ed52836d" providerId="ADAL" clId="{F0642C68-AF30-4CBF-BE63-B9B915665008}" dt="2019-06-05T14:02:01.135" v="532"/>
          <pc:sldLayoutMkLst>
            <pc:docMk/>
            <pc:sldMasterMk cId="1682422983" sldId="2147483672"/>
            <pc:sldLayoutMk cId="994208005" sldId="2147483680"/>
          </pc:sldLayoutMkLst>
          <pc:spChg chg="add">
            <ac:chgData name="Moutaz Al-Huneidi" userId="ef06bd39-2c7b-4910-9028-4578ed52836d" providerId="ADAL" clId="{F0642C68-AF30-4CBF-BE63-B9B915665008}" dt="2019-06-05T14:02:01.135" v="532"/>
            <ac:spMkLst>
              <pc:docMk/>
              <pc:sldMasterMk cId="1682422983" sldId="2147483672"/>
              <pc:sldLayoutMk cId="994208005" sldId="2147483680"/>
              <ac:spMk id="14" creationId="{FC5D8FA6-5D05-4206-A2B7-7975421191EE}"/>
            </ac:spMkLst>
          </pc:spChg>
        </pc:sldLayoutChg>
        <pc:sldLayoutChg chg="addSp">
          <pc:chgData name="Moutaz Al-Huneidi" userId="ef06bd39-2c7b-4910-9028-4578ed52836d" providerId="ADAL" clId="{F0642C68-AF30-4CBF-BE63-B9B915665008}" dt="2019-06-05T14:02:02.747" v="533"/>
          <pc:sldLayoutMkLst>
            <pc:docMk/>
            <pc:sldMasterMk cId="1682422983" sldId="2147483672"/>
            <pc:sldLayoutMk cId="2593601688" sldId="2147483681"/>
          </pc:sldLayoutMkLst>
          <pc:spChg chg="add">
            <ac:chgData name="Moutaz Al-Huneidi" userId="ef06bd39-2c7b-4910-9028-4578ed52836d" providerId="ADAL" clId="{F0642C68-AF30-4CBF-BE63-B9B915665008}" dt="2019-06-05T14:02:02.747" v="533"/>
            <ac:spMkLst>
              <pc:docMk/>
              <pc:sldMasterMk cId="1682422983" sldId="2147483672"/>
              <pc:sldLayoutMk cId="2593601688" sldId="2147483681"/>
              <ac:spMk id="9" creationId="{54458D4C-0368-4682-9E32-EB03910B03AA}"/>
            </ac:spMkLst>
          </pc:spChg>
        </pc:sldLayoutChg>
        <pc:sldLayoutChg chg="addSp">
          <pc:chgData name="Moutaz Al-Huneidi" userId="ef06bd39-2c7b-4910-9028-4578ed52836d" providerId="ADAL" clId="{F0642C68-AF30-4CBF-BE63-B9B915665008}" dt="2019-06-05T14:02:04.554" v="534"/>
          <pc:sldLayoutMkLst>
            <pc:docMk/>
            <pc:sldMasterMk cId="1682422983" sldId="2147483672"/>
            <pc:sldLayoutMk cId="2564129104" sldId="2147483682"/>
          </pc:sldLayoutMkLst>
          <pc:spChg chg="add">
            <ac:chgData name="Moutaz Al-Huneidi" userId="ef06bd39-2c7b-4910-9028-4578ed52836d" providerId="ADAL" clId="{F0642C68-AF30-4CBF-BE63-B9B915665008}" dt="2019-06-05T14:02:04.554" v="534"/>
            <ac:spMkLst>
              <pc:docMk/>
              <pc:sldMasterMk cId="1682422983" sldId="2147483672"/>
              <pc:sldLayoutMk cId="2564129104" sldId="2147483682"/>
              <ac:spMk id="6" creationId="{5A33AEE3-49C5-4E40-BF62-8B50AFB94CA6}"/>
            </ac:spMkLst>
          </pc:spChg>
        </pc:sldLayoutChg>
        <pc:sldLayoutChg chg="addSp delSp modSp">
          <pc:chgData name="Moutaz Al-Huneidi" userId="ef06bd39-2c7b-4910-9028-4578ed52836d" providerId="ADAL" clId="{F0642C68-AF30-4CBF-BE63-B9B915665008}" dt="2019-06-05T14:01:40.257" v="524" actId="692"/>
          <pc:sldLayoutMkLst>
            <pc:docMk/>
            <pc:sldMasterMk cId="1682422983" sldId="2147483672"/>
            <pc:sldLayoutMk cId="1843042847" sldId="2147483683"/>
          </pc:sldLayoutMkLst>
          <pc:spChg chg="add del">
            <ac:chgData name="Moutaz Al-Huneidi" userId="ef06bd39-2c7b-4910-9028-4578ed52836d" providerId="ADAL" clId="{F0642C68-AF30-4CBF-BE63-B9B915665008}" dt="2019-06-05T13:33:00.921" v="77" actId="11529"/>
            <ac:spMkLst>
              <pc:docMk/>
              <pc:sldMasterMk cId="1682422983" sldId="2147483672"/>
              <pc:sldLayoutMk cId="1843042847" sldId="2147483683"/>
              <ac:spMk id="2" creationId="{4A7EFEF8-B9DB-4010-803F-C6D545327E60}"/>
            </ac:spMkLst>
          </pc:spChg>
          <pc:spChg chg="add del mod">
            <ac:chgData name="Moutaz Al-Huneidi" userId="ef06bd39-2c7b-4910-9028-4578ed52836d" providerId="ADAL" clId="{F0642C68-AF30-4CBF-BE63-B9B915665008}" dt="2019-06-05T13:33:00.921" v="77" actId="11529"/>
            <ac:spMkLst>
              <pc:docMk/>
              <pc:sldMasterMk cId="1682422983" sldId="2147483672"/>
              <pc:sldLayoutMk cId="1843042847" sldId="2147483683"/>
              <ac:spMk id="7" creationId="{D3A156C3-6A74-4ADE-BC6B-5E171BA033B7}"/>
            </ac:spMkLst>
          </pc:spChg>
          <pc:spChg chg="add mod">
            <ac:chgData name="Moutaz Al-Huneidi" userId="ef06bd39-2c7b-4910-9028-4578ed52836d" providerId="ADAL" clId="{F0642C68-AF30-4CBF-BE63-B9B915665008}" dt="2019-06-05T13:33:44.796" v="82" actId="207"/>
            <ac:spMkLst>
              <pc:docMk/>
              <pc:sldMasterMk cId="1682422983" sldId="2147483672"/>
              <pc:sldLayoutMk cId="1843042847" sldId="2147483683"/>
              <ac:spMk id="8" creationId="{43D71BC8-B96F-4A4B-B5E3-6D973C31F137}"/>
            </ac:spMkLst>
          </pc:spChg>
          <pc:spChg chg="add del">
            <ac:chgData name="Moutaz Al-Huneidi" userId="ef06bd39-2c7b-4910-9028-4578ed52836d" providerId="ADAL" clId="{F0642C68-AF30-4CBF-BE63-B9B915665008}" dt="2019-06-05T13:57:25.660" v="493" actId="11529"/>
            <ac:spMkLst>
              <pc:docMk/>
              <pc:sldMasterMk cId="1682422983" sldId="2147483672"/>
              <pc:sldLayoutMk cId="1843042847" sldId="2147483683"/>
              <ac:spMk id="9" creationId="{45D4FBD1-BC1A-447A-BC78-947D8AB88400}"/>
            </ac:spMkLst>
          </pc:spChg>
          <pc:spChg chg="add del mod">
            <ac:chgData name="Moutaz Al-Huneidi" userId="ef06bd39-2c7b-4910-9028-4578ed52836d" providerId="ADAL" clId="{F0642C68-AF30-4CBF-BE63-B9B915665008}" dt="2019-06-05T13:57:25.660" v="493" actId="11529"/>
            <ac:spMkLst>
              <pc:docMk/>
              <pc:sldMasterMk cId="1682422983" sldId="2147483672"/>
              <pc:sldLayoutMk cId="1843042847" sldId="2147483683"/>
              <ac:spMk id="10" creationId="{A001DFC9-112A-4751-8717-512EDE01D3AF}"/>
            </ac:spMkLst>
          </pc:spChg>
          <pc:spChg chg="add mod">
            <ac:chgData name="Moutaz Al-Huneidi" userId="ef06bd39-2c7b-4910-9028-4578ed52836d" providerId="ADAL" clId="{F0642C68-AF30-4CBF-BE63-B9B915665008}" dt="2019-06-05T14:01:40.257" v="524" actId="692"/>
            <ac:spMkLst>
              <pc:docMk/>
              <pc:sldMasterMk cId="1682422983" sldId="2147483672"/>
              <pc:sldLayoutMk cId="1843042847" sldId="2147483683"/>
              <ac:spMk id="11" creationId="{70E45F96-02AD-4D51-8D3A-D7E1BF5EF355}"/>
            </ac:spMkLst>
          </pc:spChg>
        </pc:sldLayoutChg>
        <pc:sldLayoutChg chg="addSp">
          <pc:chgData name="Moutaz Al-Huneidi" userId="ef06bd39-2c7b-4910-9028-4578ed52836d" providerId="ADAL" clId="{F0642C68-AF30-4CBF-BE63-B9B915665008}" dt="2019-06-05T14:02:06.194" v="535"/>
          <pc:sldLayoutMkLst>
            <pc:docMk/>
            <pc:sldMasterMk cId="1682422983" sldId="2147483672"/>
            <pc:sldLayoutMk cId="1719619879" sldId="2147483684"/>
          </pc:sldLayoutMkLst>
          <pc:spChg chg="add">
            <ac:chgData name="Moutaz Al-Huneidi" userId="ef06bd39-2c7b-4910-9028-4578ed52836d" providerId="ADAL" clId="{F0642C68-AF30-4CBF-BE63-B9B915665008}" dt="2019-06-05T13:33:55.142" v="83"/>
            <ac:spMkLst>
              <pc:docMk/>
              <pc:sldMasterMk cId="1682422983" sldId="2147483672"/>
              <pc:sldLayoutMk cId="1719619879" sldId="2147483684"/>
              <ac:spMk id="7" creationId="{FA57DB88-86BE-462F-9ABA-6EAF88A5FB4A}"/>
            </ac:spMkLst>
          </pc:spChg>
          <pc:spChg chg="add">
            <ac:chgData name="Moutaz Al-Huneidi" userId="ef06bd39-2c7b-4910-9028-4578ed52836d" providerId="ADAL" clId="{F0642C68-AF30-4CBF-BE63-B9B915665008}" dt="2019-06-05T14:02:06.194" v="535"/>
            <ac:spMkLst>
              <pc:docMk/>
              <pc:sldMasterMk cId="1682422983" sldId="2147483672"/>
              <pc:sldLayoutMk cId="1719619879" sldId="2147483684"/>
              <ac:spMk id="9" creationId="{89163B89-FB34-44F7-BD92-49F370BCA307}"/>
            </ac:spMkLst>
          </pc:spChg>
        </pc:sldLayoutChg>
        <pc:sldLayoutChg chg="addSp">
          <pc:chgData name="Moutaz Al-Huneidi" userId="ef06bd39-2c7b-4910-9028-4578ed52836d" providerId="ADAL" clId="{F0642C68-AF30-4CBF-BE63-B9B915665008}" dt="2019-06-05T14:02:08.585" v="536"/>
          <pc:sldLayoutMkLst>
            <pc:docMk/>
            <pc:sldMasterMk cId="1682422983" sldId="2147483672"/>
            <pc:sldLayoutMk cId="1129790596" sldId="2147483685"/>
          </pc:sldLayoutMkLst>
          <pc:spChg chg="add">
            <ac:chgData name="Moutaz Al-Huneidi" userId="ef06bd39-2c7b-4910-9028-4578ed52836d" providerId="ADAL" clId="{F0642C68-AF30-4CBF-BE63-B9B915665008}" dt="2019-06-05T13:33:56.560" v="84"/>
            <ac:spMkLst>
              <pc:docMk/>
              <pc:sldMasterMk cId="1682422983" sldId="2147483672"/>
              <pc:sldLayoutMk cId="1129790596" sldId="2147483685"/>
              <ac:spMk id="9" creationId="{D689425D-C3EC-47CE-865F-7C9990C5212A}"/>
            </ac:spMkLst>
          </pc:spChg>
          <pc:spChg chg="add">
            <ac:chgData name="Moutaz Al-Huneidi" userId="ef06bd39-2c7b-4910-9028-4578ed52836d" providerId="ADAL" clId="{F0642C68-AF30-4CBF-BE63-B9B915665008}" dt="2019-06-05T14:02:08.585" v="536"/>
            <ac:spMkLst>
              <pc:docMk/>
              <pc:sldMasterMk cId="1682422983" sldId="2147483672"/>
              <pc:sldLayoutMk cId="1129790596" sldId="2147483685"/>
              <ac:spMk id="10" creationId="{4712F493-1ADA-4BAA-B6C2-D8EFFCC34BB6}"/>
            </ac:spMkLst>
          </pc:spChg>
        </pc:sldLayoutChg>
        <pc:sldLayoutChg chg="addSp">
          <pc:chgData name="Moutaz Al-Huneidi" userId="ef06bd39-2c7b-4910-9028-4578ed52836d" providerId="ADAL" clId="{F0642C68-AF30-4CBF-BE63-B9B915665008}" dt="2019-06-05T14:02:10.293" v="537"/>
          <pc:sldLayoutMkLst>
            <pc:docMk/>
            <pc:sldMasterMk cId="1682422983" sldId="2147483672"/>
            <pc:sldLayoutMk cId="1412415184" sldId="2147483686"/>
          </pc:sldLayoutMkLst>
          <pc:spChg chg="add">
            <ac:chgData name="Moutaz Al-Huneidi" userId="ef06bd39-2c7b-4910-9028-4578ed52836d" providerId="ADAL" clId="{F0642C68-AF30-4CBF-BE63-B9B915665008}" dt="2019-06-05T13:33:57.986" v="85"/>
            <ac:spMkLst>
              <pc:docMk/>
              <pc:sldMasterMk cId="1682422983" sldId="2147483672"/>
              <pc:sldLayoutMk cId="1412415184" sldId="2147483686"/>
              <ac:spMk id="10" creationId="{67A02932-A200-4952-8C95-42C6DCCCD35A}"/>
            </ac:spMkLst>
          </pc:spChg>
          <pc:spChg chg="add">
            <ac:chgData name="Moutaz Al-Huneidi" userId="ef06bd39-2c7b-4910-9028-4578ed52836d" providerId="ADAL" clId="{F0642C68-AF30-4CBF-BE63-B9B915665008}" dt="2019-06-05T14:02:10.293" v="537"/>
            <ac:spMkLst>
              <pc:docMk/>
              <pc:sldMasterMk cId="1682422983" sldId="2147483672"/>
              <pc:sldLayoutMk cId="1412415184" sldId="2147483686"/>
              <ac:spMk id="12" creationId="{EFEBEDA3-145D-454D-BDA2-2E813BC99DC5}"/>
            </ac:spMkLst>
          </pc:spChg>
        </pc:sldLayoutChg>
        <pc:sldLayoutChg chg="addSp">
          <pc:chgData name="Moutaz Al-Huneidi" userId="ef06bd39-2c7b-4910-9028-4578ed52836d" providerId="ADAL" clId="{F0642C68-AF30-4CBF-BE63-B9B915665008}" dt="2019-06-05T14:02:11.424" v="538"/>
          <pc:sldLayoutMkLst>
            <pc:docMk/>
            <pc:sldMasterMk cId="1682422983" sldId="2147483672"/>
            <pc:sldLayoutMk cId="1939617360" sldId="2147483687"/>
          </pc:sldLayoutMkLst>
          <pc:spChg chg="add">
            <ac:chgData name="Moutaz Al-Huneidi" userId="ef06bd39-2c7b-4910-9028-4578ed52836d" providerId="ADAL" clId="{F0642C68-AF30-4CBF-BE63-B9B915665008}" dt="2019-06-05T13:33:59.415" v="86"/>
            <ac:spMkLst>
              <pc:docMk/>
              <pc:sldMasterMk cId="1682422983" sldId="2147483672"/>
              <pc:sldLayoutMk cId="1939617360" sldId="2147483687"/>
              <ac:spMk id="11" creationId="{7A263895-E674-4F9E-8517-998DB7A32C5B}"/>
            </ac:spMkLst>
          </pc:spChg>
          <pc:spChg chg="add">
            <ac:chgData name="Moutaz Al-Huneidi" userId="ef06bd39-2c7b-4910-9028-4578ed52836d" providerId="ADAL" clId="{F0642C68-AF30-4CBF-BE63-B9B915665008}" dt="2019-06-05T14:02:11.424" v="538"/>
            <ac:spMkLst>
              <pc:docMk/>
              <pc:sldMasterMk cId="1682422983" sldId="2147483672"/>
              <pc:sldLayoutMk cId="1939617360" sldId="2147483687"/>
              <ac:spMk id="12" creationId="{A25E9C87-2A34-456E-BEE7-C953711935C1}"/>
            </ac:spMkLst>
          </pc:spChg>
        </pc:sldLayoutChg>
        <pc:sldLayoutChg chg="addSp">
          <pc:chgData name="Moutaz Al-Huneidi" userId="ef06bd39-2c7b-4910-9028-4578ed52836d" providerId="ADAL" clId="{F0642C68-AF30-4CBF-BE63-B9B915665008}" dt="2019-06-05T14:02:12.831" v="539"/>
          <pc:sldLayoutMkLst>
            <pc:docMk/>
            <pc:sldMasterMk cId="1682422983" sldId="2147483672"/>
            <pc:sldLayoutMk cId="2273898976" sldId="2147483688"/>
          </pc:sldLayoutMkLst>
          <pc:spChg chg="add">
            <ac:chgData name="Moutaz Al-Huneidi" userId="ef06bd39-2c7b-4910-9028-4578ed52836d" providerId="ADAL" clId="{F0642C68-AF30-4CBF-BE63-B9B915665008}" dt="2019-06-05T13:34:00.988" v="87"/>
            <ac:spMkLst>
              <pc:docMk/>
              <pc:sldMasterMk cId="1682422983" sldId="2147483672"/>
              <pc:sldLayoutMk cId="2273898976" sldId="2147483688"/>
              <ac:spMk id="7" creationId="{B5024451-B515-4DB0-AC8D-B758A3C42D38}"/>
            </ac:spMkLst>
          </pc:spChg>
          <pc:spChg chg="add">
            <ac:chgData name="Moutaz Al-Huneidi" userId="ef06bd39-2c7b-4910-9028-4578ed52836d" providerId="ADAL" clId="{F0642C68-AF30-4CBF-BE63-B9B915665008}" dt="2019-06-05T14:02:12.831" v="539"/>
            <ac:spMkLst>
              <pc:docMk/>
              <pc:sldMasterMk cId="1682422983" sldId="2147483672"/>
              <pc:sldLayoutMk cId="2273898976" sldId="2147483688"/>
              <ac:spMk id="9" creationId="{091BC940-731B-4F9C-9CA9-8F58B951B651}"/>
            </ac:spMkLst>
          </pc:spChg>
        </pc:sldLayoutChg>
        <pc:sldLayoutChg chg="addSp">
          <pc:chgData name="Moutaz Al-Huneidi" userId="ef06bd39-2c7b-4910-9028-4578ed52836d" providerId="ADAL" clId="{F0642C68-AF30-4CBF-BE63-B9B915665008}" dt="2019-06-05T14:02:14.268" v="540"/>
          <pc:sldLayoutMkLst>
            <pc:docMk/>
            <pc:sldMasterMk cId="1682422983" sldId="2147483672"/>
            <pc:sldLayoutMk cId="1895513142" sldId="2147483689"/>
          </pc:sldLayoutMkLst>
          <pc:spChg chg="add">
            <ac:chgData name="Moutaz Al-Huneidi" userId="ef06bd39-2c7b-4910-9028-4578ed52836d" providerId="ADAL" clId="{F0642C68-AF30-4CBF-BE63-B9B915665008}" dt="2019-06-05T13:34:02.920" v="88"/>
            <ac:spMkLst>
              <pc:docMk/>
              <pc:sldMasterMk cId="1682422983" sldId="2147483672"/>
              <pc:sldLayoutMk cId="1895513142" sldId="2147483689"/>
              <ac:spMk id="9" creationId="{B7F4D648-AC0D-4195-8719-EDE8E00248E9}"/>
            </ac:spMkLst>
          </pc:spChg>
          <pc:spChg chg="add">
            <ac:chgData name="Moutaz Al-Huneidi" userId="ef06bd39-2c7b-4910-9028-4578ed52836d" providerId="ADAL" clId="{F0642C68-AF30-4CBF-BE63-B9B915665008}" dt="2019-06-05T14:02:14.268" v="540"/>
            <ac:spMkLst>
              <pc:docMk/>
              <pc:sldMasterMk cId="1682422983" sldId="2147483672"/>
              <pc:sldLayoutMk cId="1895513142" sldId="2147483689"/>
              <ac:spMk id="11" creationId="{25020F50-DEA6-48B6-AD7E-1DC28B30A98F}"/>
            </ac:spMkLst>
          </pc:spChg>
        </pc:sldLayoutChg>
        <pc:sldLayoutChg chg="addSp">
          <pc:chgData name="Moutaz Al-Huneidi" userId="ef06bd39-2c7b-4910-9028-4578ed52836d" providerId="ADAL" clId="{F0642C68-AF30-4CBF-BE63-B9B915665008}" dt="2019-06-05T14:02:15.243" v="541"/>
          <pc:sldLayoutMkLst>
            <pc:docMk/>
            <pc:sldMasterMk cId="1682422983" sldId="2147483672"/>
            <pc:sldLayoutMk cId="3135730501" sldId="2147483690"/>
          </pc:sldLayoutMkLst>
          <pc:spChg chg="add">
            <ac:chgData name="Moutaz Al-Huneidi" userId="ef06bd39-2c7b-4910-9028-4578ed52836d" providerId="ADAL" clId="{F0642C68-AF30-4CBF-BE63-B9B915665008}" dt="2019-06-05T13:34:06.338" v="89"/>
            <ac:spMkLst>
              <pc:docMk/>
              <pc:sldMasterMk cId="1682422983" sldId="2147483672"/>
              <pc:sldLayoutMk cId="3135730501" sldId="2147483690"/>
              <ac:spMk id="5" creationId="{85D6E8A5-C2FD-4807-BB5B-114A31714306}"/>
            </ac:spMkLst>
          </pc:spChg>
          <pc:spChg chg="add">
            <ac:chgData name="Moutaz Al-Huneidi" userId="ef06bd39-2c7b-4910-9028-4578ed52836d" providerId="ADAL" clId="{F0642C68-AF30-4CBF-BE63-B9B915665008}" dt="2019-06-05T14:02:15.243" v="541"/>
            <ac:spMkLst>
              <pc:docMk/>
              <pc:sldMasterMk cId="1682422983" sldId="2147483672"/>
              <pc:sldLayoutMk cId="3135730501" sldId="2147483690"/>
              <ac:spMk id="7" creationId="{01559E59-E38D-48D0-9923-4597F15B9CF0}"/>
            </ac:spMkLst>
          </pc:spChg>
        </pc:sldLayoutChg>
        <pc:sldLayoutChg chg="addSp">
          <pc:chgData name="Moutaz Al-Huneidi" userId="ef06bd39-2c7b-4910-9028-4578ed52836d" providerId="ADAL" clId="{F0642C68-AF30-4CBF-BE63-B9B915665008}" dt="2019-06-05T14:02:17.372" v="542"/>
          <pc:sldLayoutMkLst>
            <pc:docMk/>
            <pc:sldMasterMk cId="1682422983" sldId="2147483672"/>
            <pc:sldLayoutMk cId="2763163867" sldId="2147483691"/>
          </pc:sldLayoutMkLst>
          <pc:spChg chg="add">
            <ac:chgData name="Moutaz Al-Huneidi" userId="ef06bd39-2c7b-4910-9028-4578ed52836d" providerId="ADAL" clId="{F0642C68-AF30-4CBF-BE63-B9B915665008}" dt="2019-06-05T13:34:08.052" v="90"/>
            <ac:spMkLst>
              <pc:docMk/>
              <pc:sldMasterMk cId="1682422983" sldId="2147483672"/>
              <pc:sldLayoutMk cId="2763163867" sldId="2147483691"/>
              <ac:spMk id="7" creationId="{3BB9B0A8-D47C-4A54-8EAC-79687498817D}"/>
            </ac:spMkLst>
          </pc:spChg>
          <pc:spChg chg="add">
            <ac:chgData name="Moutaz Al-Huneidi" userId="ef06bd39-2c7b-4910-9028-4578ed52836d" providerId="ADAL" clId="{F0642C68-AF30-4CBF-BE63-B9B915665008}" dt="2019-06-05T14:02:17.372" v="542"/>
            <ac:spMkLst>
              <pc:docMk/>
              <pc:sldMasterMk cId="1682422983" sldId="2147483672"/>
              <pc:sldLayoutMk cId="2763163867" sldId="2147483691"/>
              <ac:spMk id="8" creationId="{554077C2-45E3-401F-AAD6-3F659E3EC13B}"/>
            </ac:spMkLst>
          </pc:spChg>
        </pc:sldLayoutChg>
        <pc:sldLayoutChg chg="addSp">
          <pc:chgData name="Moutaz Al-Huneidi" userId="ef06bd39-2c7b-4910-9028-4578ed52836d" providerId="ADAL" clId="{F0642C68-AF30-4CBF-BE63-B9B915665008}" dt="2019-06-05T14:10:41.525" v="580"/>
          <pc:sldLayoutMkLst>
            <pc:docMk/>
            <pc:sldMasterMk cId="1682422983" sldId="2147483672"/>
            <pc:sldLayoutMk cId="3456668469" sldId="2147483692"/>
          </pc:sldLayoutMkLst>
          <pc:spChg chg="add">
            <ac:chgData name="Moutaz Al-Huneidi" userId="ef06bd39-2c7b-4910-9028-4578ed52836d" providerId="ADAL" clId="{F0642C68-AF30-4CBF-BE63-B9B915665008}" dt="2019-06-05T14:02:19.060" v="543"/>
            <ac:spMkLst>
              <pc:docMk/>
              <pc:sldMasterMk cId="1682422983" sldId="2147483672"/>
              <pc:sldLayoutMk cId="3456668469" sldId="2147483692"/>
              <ac:spMk id="4" creationId="{BE2C4C25-8CBE-409B-9A03-6A60112733F6}"/>
            </ac:spMkLst>
          </pc:spChg>
          <pc:spChg chg="add">
            <ac:chgData name="Moutaz Al-Huneidi" userId="ef06bd39-2c7b-4910-9028-4578ed52836d" providerId="ADAL" clId="{F0642C68-AF30-4CBF-BE63-B9B915665008}" dt="2019-06-05T14:10:41.525" v="580"/>
            <ac:spMkLst>
              <pc:docMk/>
              <pc:sldMasterMk cId="1682422983" sldId="2147483672"/>
              <pc:sldLayoutMk cId="3456668469" sldId="2147483692"/>
              <ac:spMk id="5" creationId="{C7C6366C-6727-42BC-8122-EF813E8EDA16}"/>
            </ac:spMkLst>
          </pc:spChg>
        </pc:sldLayoutChg>
      </pc:sldMasterChg>
    </pc:docChg>
  </pc:docChgLst>
  <pc:docChgLst>
    <pc:chgData name="Ekaterina Chunosova" userId="5c6ac274-c4f1-480b-9055-176083e1ba83" providerId="ADAL" clId="{188162B9-2153-B545-A215-B922018B88E2}"/>
    <pc:docChg chg="undo redo custSel mod addSld delSld modSld sldOrd modMainMaster">
      <pc:chgData name="Ekaterina Chunosova" userId="5c6ac274-c4f1-480b-9055-176083e1ba83" providerId="ADAL" clId="{188162B9-2153-B545-A215-B922018B88E2}" dt="2019-06-06T14:52:35.810" v="3571" actId="164"/>
      <pc:docMkLst>
        <pc:docMk/>
      </pc:docMkLst>
      <pc:sldChg chg="addSp delSp modSp setBg">
        <pc:chgData name="Ekaterina Chunosova" userId="5c6ac274-c4f1-480b-9055-176083e1ba83" providerId="ADAL" clId="{188162B9-2153-B545-A215-B922018B88E2}" dt="2019-06-05T13:52:11.039" v="3535" actId="207"/>
        <pc:sldMkLst>
          <pc:docMk/>
          <pc:sldMk cId="109857222" sldId="256"/>
        </pc:sldMkLst>
        <pc:spChg chg="mod">
          <ac:chgData name="Ekaterina Chunosova" userId="5c6ac274-c4f1-480b-9055-176083e1ba83" providerId="ADAL" clId="{188162B9-2153-B545-A215-B922018B88E2}" dt="2019-06-05T13:17:33.256" v="3518" actId="27636"/>
          <ac:spMkLst>
            <pc:docMk/>
            <pc:sldMk cId="109857222" sldId="256"/>
            <ac:spMk id="2" creationId="{00000000-0000-0000-0000-000000000000}"/>
          </ac:spMkLst>
        </pc:spChg>
        <pc:spChg chg="mod">
          <ac:chgData name="Ekaterina Chunosova" userId="5c6ac274-c4f1-480b-9055-176083e1ba83" providerId="ADAL" clId="{188162B9-2153-B545-A215-B922018B88E2}" dt="2019-06-05T13:52:11.039" v="3535" actId="207"/>
          <ac:spMkLst>
            <pc:docMk/>
            <pc:sldMk cId="109857222" sldId="256"/>
            <ac:spMk id="3" creationId="{00000000-0000-0000-0000-000000000000}"/>
          </ac:spMkLst>
        </pc:spChg>
        <pc:spChg chg="add mod">
          <ac:chgData name="Ekaterina Chunosova" userId="5c6ac274-c4f1-480b-9055-176083e1ba83" providerId="ADAL" clId="{188162B9-2153-B545-A215-B922018B88E2}" dt="2019-06-03T13:39:05.503" v="200" actId="164"/>
          <ac:spMkLst>
            <pc:docMk/>
            <pc:sldMk cId="109857222" sldId="256"/>
            <ac:spMk id="4" creationId="{3A78B9B4-4FF2-9A4A-90EE-74EB3D0D2713}"/>
          </ac:spMkLst>
        </pc:spChg>
        <pc:spChg chg="mod">
          <ac:chgData name="Ekaterina Chunosova" userId="5c6ac274-c4f1-480b-9055-176083e1ba83" providerId="ADAL" clId="{188162B9-2153-B545-A215-B922018B88E2}" dt="2019-06-05T13:51:58.703" v="3534" actId="692"/>
          <ac:spMkLst>
            <pc:docMk/>
            <pc:sldMk cId="109857222" sldId="256"/>
            <ac:spMk id="6" creationId="{CED064CF-BE3A-408F-AEEB-60A545C6629C}"/>
          </ac:spMkLst>
        </pc:spChg>
        <pc:spChg chg="add mod">
          <ac:chgData name="Ekaterina Chunosova" userId="5c6ac274-c4f1-480b-9055-176083e1ba83" providerId="ADAL" clId="{188162B9-2153-B545-A215-B922018B88E2}" dt="2019-06-03T13:39:05.503" v="200" actId="164"/>
          <ac:spMkLst>
            <pc:docMk/>
            <pc:sldMk cId="109857222" sldId="256"/>
            <ac:spMk id="7" creationId="{08C68ECA-A873-AE41-B260-115EA7420785}"/>
          </ac:spMkLst>
        </pc:spChg>
        <pc:spChg chg="add mod">
          <ac:chgData name="Ekaterina Chunosova" userId="5c6ac274-c4f1-480b-9055-176083e1ba83" providerId="ADAL" clId="{188162B9-2153-B545-A215-B922018B88E2}" dt="2019-06-03T13:39:05.503" v="200" actId="164"/>
          <ac:spMkLst>
            <pc:docMk/>
            <pc:sldMk cId="109857222" sldId="256"/>
            <ac:spMk id="8" creationId="{EB445AAB-EA59-764F-BBA3-A50F95B060F8}"/>
          </ac:spMkLst>
        </pc:spChg>
        <pc:spChg chg="add mod">
          <ac:chgData name="Ekaterina Chunosova" userId="5c6ac274-c4f1-480b-9055-176083e1ba83" providerId="ADAL" clId="{188162B9-2153-B545-A215-B922018B88E2}" dt="2019-06-03T13:39:05.503" v="200" actId="164"/>
          <ac:spMkLst>
            <pc:docMk/>
            <pc:sldMk cId="109857222" sldId="256"/>
            <ac:spMk id="9" creationId="{E8A410F4-4535-5943-84A6-975C37F6B23C}"/>
          </ac:spMkLst>
        </pc:spChg>
        <pc:spChg chg="add mod">
          <ac:chgData name="Ekaterina Chunosova" userId="5c6ac274-c4f1-480b-9055-176083e1ba83" providerId="ADAL" clId="{188162B9-2153-B545-A215-B922018B88E2}" dt="2019-06-03T13:39:05.503" v="200" actId="164"/>
          <ac:spMkLst>
            <pc:docMk/>
            <pc:sldMk cId="109857222" sldId="256"/>
            <ac:spMk id="10" creationId="{F742FF10-1CA3-1243-8DA4-6626B1AF706B}"/>
          </ac:spMkLst>
        </pc:spChg>
        <pc:spChg chg="add mod">
          <ac:chgData name="Ekaterina Chunosova" userId="5c6ac274-c4f1-480b-9055-176083e1ba83" providerId="ADAL" clId="{188162B9-2153-B545-A215-B922018B88E2}" dt="2019-06-03T13:39:05.503" v="200" actId="164"/>
          <ac:spMkLst>
            <pc:docMk/>
            <pc:sldMk cId="109857222" sldId="256"/>
            <ac:spMk id="11" creationId="{42E2CEAB-6D1B-7749-89C3-BE14D8492DB5}"/>
          </ac:spMkLst>
        </pc:spChg>
        <pc:spChg chg="add mod">
          <ac:chgData name="Ekaterina Chunosova" userId="5c6ac274-c4f1-480b-9055-176083e1ba83" providerId="ADAL" clId="{188162B9-2153-B545-A215-B922018B88E2}" dt="2019-06-03T15:02:35.361" v="1159" actId="1076"/>
          <ac:spMkLst>
            <pc:docMk/>
            <pc:sldMk cId="109857222" sldId="256"/>
            <ac:spMk id="12" creationId="{7B03A696-6E33-784C-94D8-0D411D237852}"/>
          </ac:spMkLst>
        </pc:spChg>
        <pc:spChg chg="add mod">
          <ac:chgData name="Ekaterina Chunosova" userId="5c6ac274-c4f1-480b-9055-176083e1ba83" providerId="ADAL" clId="{188162B9-2153-B545-A215-B922018B88E2}" dt="2019-06-03T13:39:05.503" v="200" actId="164"/>
          <ac:spMkLst>
            <pc:docMk/>
            <pc:sldMk cId="109857222" sldId="256"/>
            <ac:spMk id="14" creationId="{614DD4BB-8982-2B44-9797-D441C754CE61}"/>
          </ac:spMkLst>
        </pc:spChg>
        <pc:spChg chg="add del mod">
          <ac:chgData name="Ekaterina Chunosova" userId="5c6ac274-c4f1-480b-9055-176083e1ba83" providerId="ADAL" clId="{188162B9-2153-B545-A215-B922018B88E2}" dt="2019-06-03T13:36:08.237" v="52" actId="478"/>
          <ac:spMkLst>
            <pc:docMk/>
            <pc:sldMk cId="109857222" sldId="256"/>
            <ac:spMk id="19" creationId="{9A9F6FFF-464A-A44C-AFCC-3D3C9CD070DF}"/>
          </ac:spMkLst>
        </pc:spChg>
        <pc:spChg chg="mod">
          <ac:chgData name="Ekaterina Chunosova" userId="5c6ac274-c4f1-480b-9055-176083e1ba83" providerId="ADAL" clId="{188162B9-2153-B545-A215-B922018B88E2}" dt="2019-06-05T13:51:44.452" v="3532" actId="207"/>
          <ac:spMkLst>
            <pc:docMk/>
            <pc:sldMk cId="109857222" sldId="256"/>
            <ac:spMk id="26" creationId="{750BC4C6-5716-4DAD-9697-EACE62A89693}"/>
          </ac:spMkLst>
        </pc:spChg>
        <pc:grpChg chg="add mod">
          <ac:chgData name="Ekaterina Chunosova" userId="5c6ac274-c4f1-480b-9055-176083e1ba83" providerId="ADAL" clId="{188162B9-2153-B545-A215-B922018B88E2}" dt="2019-06-05T13:51:51.977" v="3533" actId="164"/>
          <ac:grpSpMkLst>
            <pc:docMk/>
            <pc:sldMk cId="109857222" sldId="256"/>
            <ac:grpSpMk id="13" creationId="{CACB9BA1-BA48-B946-9B65-7CF3BEC8A21F}"/>
          </ac:grpSpMkLst>
        </pc:grpChg>
        <pc:grpChg chg="add mod">
          <ac:chgData name="Ekaterina Chunosova" userId="5c6ac274-c4f1-480b-9055-176083e1ba83" providerId="ADAL" clId="{188162B9-2153-B545-A215-B922018B88E2}" dt="2019-06-04T14:10:47.515" v="1442" actId="1076"/>
          <ac:grpSpMkLst>
            <pc:docMk/>
            <pc:sldMk cId="109857222" sldId="256"/>
            <ac:grpSpMk id="20" creationId="{95AA21A7-515D-004A-AB20-7EDECB36B323}"/>
          </ac:grpSpMkLst>
        </pc:grpChg>
        <pc:picChg chg="add del mod">
          <ac:chgData name="Ekaterina Chunosova" userId="5c6ac274-c4f1-480b-9055-176083e1ba83" providerId="ADAL" clId="{188162B9-2153-B545-A215-B922018B88E2}" dt="2019-06-03T13:32:06.917" v="22" actId="478"/>
          <ac:picMkLst>
            <pc:docMk/>
            <pc:sldMk cId="109857222" sldId="256"/>
            <ac:picMk id="6" creationId="{8BF276AE-8441-E148-9664-3E7267251EAC}"/>
          </ac:picMkLst>
        </pc:picChg>
        <pc:picChg chg="add del mod">
          <ac:chgData name="Ekaterina Chunosova" userId="5c6ac274-c4f1-480b-9055-176083e1ba83" providerId="ADAL" clId="{188162B9-2153-B545-A215-B922018B88E2}" dt="2019-06-03T15:00:47.254" v="1115" actId="478"/>
          <ac:picMkLst>
            <pc:docMk/>
            <pc:sldMk cId="109857222" sldId="256"/>
            <ac:picMk id="6" creationId="{F8799407-D539-5743-A3A2-7F45D0277E6D}"/>
          </ac:picMkLst>
        </pc:picChg>
        <pc:picChg chg="add del mod">
          <ac:chgData name="Ekaterina Chunosova" userId="5c6ac274-c4f1-480b-9055-176083e1ba83" providerId="ADAL" clId="{188162B9-2153-B545-A215-B922018B88E2}" dt="2019-06-03T13:33:49.632" v="30" actId="478"/>
          <ac:picMkLst>
            <pc:docMk/>
            <pc:sldMk cId="109857222" sldId="256"/>
            <ac:picMk id="13" creationId="{CA8F9D65-65CF-D34C-9962-44149D3EFCDF}"/>
          </ac:picMkLst>
        </pc:picChg>
        <pc:picChg chg="add mod">
          <ac:chgData name="Ekaterina Chunosova" userId="5c6ac274-c4f1-480b-9055-176083e1ba83" providerId="ADAL" clId="{188162B9-2153-B545-A215-B922018B88E2}" dt="2019-06-03T15:02:31.700" v="1158" actId="1076"/>
          <ac:picMkLst>
            <pc:docMk/>
            <pc:sldMk cId="109857222" sldId="256"/>
            <ac:picMk id="15" creationId="{4B9313D2-625C-0841-8AE3-F9FE9F6EAB49}"/>
          </ac:picMkLst>
        </pc:picChg>
        <pc:picChg chg="add del mod">
          <ac:chgData name="Ekaterina Chunosova" userId="5c6ac274-c4f1-480b-9055-176083e1ba83" providerId="ADAL" clId="{188162B9-2153-B545-A215-B922018B88E2}" dt="2019-06-03T13:34:47.287" v="36" actId="478"/>
          <ac:picMkLst>
            <pc:docMk/>
            <pc:sldMk cId="109857222" sldId="256"/>
            <ac:picMk id="16" creationId="{21982926-3504-2A45-9472-3C2A6B4D4F0E}"/>
          </ac:picMkLst>
        </pc:picChg>
        <pc:picChg chg="add mod">
          <ac:chgData name="Ekaterina Chunosova" userId="5c6ac274-c4f1-480b-9055-176083e1ba83" providerId="ADAL" clId="{188162B9-2153-B545-A215-B922018B88E2}" dt="2019-06-03T15:02:30.188" v="1157" actId="1076"/>
          <ac:picMkLst>
            <pc:docMk/>
            <pc:sldMk cId="109857222" sldId="256"/>
            <ac:picMk id="17" creationId="{4E8BA9A6-2DAF-B748-AFA7-BFAE0BD26D98}"/>
          </ac:picMkLst>
        </pc:picChg>
        <pc:picChg chg="add del mod">
          <ac:chgData name="Ekaterina Chunosova" userId="5c6ac274-c4f1-480b-9055-176083e1ba83" providerId="ADAL" clId="{188162B9-2153-B545-A215-B922018B88E2}" dt="2019-06-03T13:36:14.482" v="53" actId="478"/>
          <ac:picMkLst>
            <pc:docMk/>
            <pc:sldMk cId="109857222" sldId="256"/>
            <ac:picMk id="18" creationId="{DBC2FC3B-6EF9-0F41-A231-4D5D8F304365}"/>
          </ac:picMkLst>
        </pc:picChg>
        <pc:picChg chg="add del mod">
          <ac:chgData name="Ekaterina Chunosova" userId="5c6ac274-c4f1-480b-9055-176083e1ba83" providerId="ADAL" clId="{188162B9-2153-B545-A215-B922018B88E2}" dt="2019-06-03T13:39:35.399" v="210" actId="478"/>
          <ac:picMkLst>
            <pc:docMk/>
            <pc:sldMk cId="109857222" sldId="256"/>
            <ac:picMk id="21" creationId="{1EEFF5BA-A7C0-2141-99C9-A1D6FD71D9A0}"/>
          </ac:picMkLst>
        </pc:picChg>
        <pc:picChg chg="add mod">
          <ac:chgData name="Ekaterina Chunosova" userId="5c6ac274-c4f1-480b-9055-176083e1ba83" providerId="ADAL" clId="{188162B9-2153-B545-A215-B922018B88E2}" dt="2019-06-03T13:42:13.420" v="232" actId="1076"/>
          <ac:picMkLst>
            <pc:docMk/>
            <pc:sldMk cId="109857222" sldId="256"/>
            <ac:picMk id="22" creationId="{3D238BA6-022D-F44F-979B-7B555C03E7B4}"/>
          </ac:picMkLst>
        </pc:picChg>
        <pc:cxnChg chg="mod">
          <ac:chgData name="Ekaterina Chunosova" userId="5c6ac274-c4f1-480b-9055-176083e1ba83" providerId="ADAL" clId="{188162B9-2153-B545-A215-B922018B88E2}" dt="2019-06-05T13:51:58.703" v="3534" actId="692"/>
          <ac:cxnSpMkLst>
            <pc:docMk/>
            <pc:sldMk cId="109857222" sldId="256"/>
            <ac:cxnSpMk id="16" creationId="{00996862-1E2C-4AA9-B9A0-6026853150D1}"/>
          </ac:cxnSpMkLst>
        </pc:cxnChg>
        <pc:cxnChg chg="mod">
          <ac:chgData name="Ekaterina Chunosova" userId="5c6ac274-c4f1-480b-9055-176083e1ba83" providerId="ADAL" clId="{188162B9-2153-B545-A215-B922018B88E2}" dt="2019-06-05T13:51:58.703" v="3534" actId="692"/>
          <ac:cxnSpMkLst>
            <pc:docMk/>
            <pc:sldMk cId="109857222" sldId="256"/>
            <ac:cxnSpMk id="23" creationId="{D1E0D298-46AF-4544-B250-D8C84CFAEB33}"/>
          </ac:cxnSpMkLst>
        </pc:cxnChg>
      </pc:sldChg>
      <pc:sldChg chg="addSp delSp modSp mod">
        <pc:chgData name="Ekaterina Chunosova" userId="5c6ac274-c4f1-480b-9055-176083e1ba83" providerId="ADAL" clId="{188162B9-2153-B545-A215-B922018B88E2}" dt="2019-06-04T14:48:23.452" v="1710" actId="1076"/>
        <pc:sldMkLst>
          <pc:docMk/>
          <pc:sldMk cId="424387413" sldId="258"/>
        </pc:sldMkLst>
        <pc:spChg chg="del mod">
          <ac:chgData name="Ekaterina Chunosova" userId="5c6ac274-c4f1-480b-9055-176083e1ba83" providerId="ADAL" clId="{188162B9-2153-B545-A215-B922018B88E2}" dt="2019-06-03T13:51:59.802" v="269" actId="478"/>
          <ac:spMkLst>
            <pc:docMk/>
            <pc:sldMk cId="424387413" sldId="258"/>
            <ac:spMk id="2" creationId="{8E24A9C7-53D1-49D1-BA5D-5BE8D86098AA}"/>
          </ac:spMkLst>
        </pc:spChg>
        <pc:spChg chg="add mod">
          <ac:chgData name="Ekaterina Chunosova" userId="5c6ac274-c4f1-480b-9055-176083e1ba83" providerId="ADAL" clId="{188162B9-2153-B545-A215-B922018B88E2}" dt="2019-06-04T14:30:44.176" v="1461" actId="14100"/>
          <ac:spMkLst>
            <pc:docMk/>
            <pc:sldMk cId="424387413" sldId="258"/>
            <ac:spMk id="2" creationId="{FC0B5C04-1F5D-E948-831B-A9E3A6AE0290}"/>
          </ac:spMkLst>
        </pc:spChg>
        <pc:spChg chg="mod">
          <ac:chgData name="Ekaterina Chunosova" userId="5c6ac274-c4f1-480b-9055-176083e1ba83" providerId="ADAL" clId="{188162B9-2153-B545-A215-B922018B88E2}" dt="2019-06-03T14:41:49.974" v="890" actId="1076"/>
          <ac:spMkLst>
            <pc:docMk/>
            <pc:sldMk cId="424387413" sldId="258"/>
            <ac:spMk id="5" creationId="{AB266333-4B91-4824-B5EC-3BD3B38E3007}"/>
          </ac:spMkLst>
        </pc:spChg>
        <pc:spChg chg="del">
          <ac:chgData name="Ekaterina Chunosova" userId="5c6ac274-c4f1-480b-9055-176083e1ba83" providerId="ADAL" clId="{188162B9-2153-B545-A215-B922018B88E2}" dt="2019-06-03T13:54:36.594" v="291" actId="478"/>
          <ac:spMkLst>
            <pc:docMk/>
            <pc:sldMk cId="424387413" sldId="258"/>
            <ac:spMk id="7" creationId="{56092D42-4263-4D1B-A270-55BA14403C29}"/>
          </ac:spMkLst>
        </pc:spChg>
        <pc:spChg chg="add mod">
          <ac:chgData name="Ekaterina Chunosova" userId="5c6ac274-c4f1-480b-9055-176083e1ba83" providerId="ADAL" clId="{188162B9-2153-B545-A215-B922018B88E2}" dt="2019-06-03T14:50:19.296" v="932" actId="692"/>
          <ac:spMkLst>
            <pc:docMk/>
            <pc:sldMk cId="424387413" sldId="258"/>
            <ac:spMk id="10" creationId="{D6060FCE-115C-504E-9C09-A645C9C8123E}"/>
          </ac:spMkLst>
        </pc:spChg>
        <pc:spChg chg="add del mod">
          <ac:chgData name="Ekaterina Chunosova" userId="5c6ac274-c4f1-480b-9055-176083e1ba83" providerId="ADAL" clId="{188162B9-2153-B545-A215-B922018B88E2}" dt="2019-06-03T14:02:47.191" v="553"/>
          <ac:spMkLst>
            <pc:docMk/>
            <pc:sldMk cId="424387413" sldId="258"/>
            <ac:spMk id="19" creationId="{9B3855C2-E952-0640-87AF-84428AF869D7}"/>
          </ac:spMkLst>
        </pc:spChg>
        <pc:spChg chg="add mod">
          <ac:chgData name="Ekaterina Chunosova" userId="5c6ac274-c4f1-480b-9055-176083e1ba83" providerId="ADAL" clId="{188162B9-2153-B545-A215-B922018B88E2}" dt="2019-06-03T14:02:45.140" v="551" actId="1076"/>
          <ac:spMkLst>
            <pc:docMk/>
            <pc:sldMk cId="424387413" sldId="258"/>
            <ac:spMk id="20" creationId="{F2BFF0F0-A882-D14D-B633-6ED2EF0DF805}"/>
          </ac:spMkLst>
        </pc:spChg>
        <pc:spChg chg="add mod">
          <ac:chgData name="Ekaterina Chunosova" userId="5c6ac274-c4f1-480b-9055-176083e1ba83" providerId="ADAL" clId="{188162B9-2153-B545-A215-B922018B88E2}" dt="2019-06-03T14:36:15.217" v="858" actId="1076"/>
          <ac:spMkLst>
            <pc:docMk/>
            <pc:sldMk cId="424387413" sldId="258"/>
            <ac:spMk id="25" creationId="{8F14BC9A-FF71-4C4D-B79E-392A7834E4DD}"/>
          </ac:spMkLst>
        </pc:spChg>
        <pc:spChg chg="add mod">
          <ac:chgData name="Ekaterina Chunosova" userId="5c6ac274-c4f1-480b-9055-176083e1ba83" providerId="ADAL" clId="{188162B9-2153-B545-A215-B922018B88E2}" dt="2019-06-03T15:20:31.828" v="1343" actId="20577"/>
          <ac:spMkLst>
            <pc:docMk/>
            <pc:sldMk cId="424387413" sldId="258"/>
            <ac:spMk id="26" creationId="{36B21A66-AA48-AF4E-95B5-02A8F41CD961}"/>
          </ac:spMkLst>
        </pc:spChg>
        <pc:grpChg chg="add mod">
          <ac:chgData name="Ekaterina Chunosova" userId="5c6ac274-c4f1-480b-9055-176083e1ba83" providerId="ADAL" clId="{188162B9-2153-B545-A215-B922018B88E2}" dt="2019-06-03T14:02:28.117" v="543" actId="1076"/>
          <ac:grpSpMkLst>
            <pc:docMk/>
            <pc:sldMk cId="424387413" sldId="258"/>
            <ac:grpSpMk id="11" creationId="{485F8677-013B-4F49-9A65-01710F92DA33}"/>
          </ac:grpSpMkLst>
        </pc:grpChg>
        <pc:grpChg chg="add mod">
          <ac:chgData name="Ekaterina Chunosova" userId="5c6ac274-c4f1-480b-9055-176083e1ba83" providerId="ADAL" clId="{188162B9-2153-B545-A215-B922018B88E2}" dt="2019-06-03T15:05:28.511" v="1194" actId="1076"/>
          <ac:grpSpMkLst>
            <pc:docMk/>
            <pc:sldMk cId="424387413" sldId="258"/>
            <ac:grpSpMk id="27" creationId="{8D0D7D1B-0BFA-A248-9818-8A7783EF2ABA}"/>
          </ac:grpSpMkLst>
        </pc:grpChg>
        <pc:graphicFrameChg chg="add mod">
          <ac:chgData name="Ekaterina Chunosova" userId="5c6ac274-c4f1-480b-9055-176083e1ba83" providerId="ADAL" clId="{188162B9-2153-B545-A215-B922018B88E2}" dt="2019-06-03T15:07:20.090" v="1204" actId="113"/>
          <ac:graphicFrameMkLst>
            <pc:docMk/>
            <pc:sldMk cId="424387413" sldId="258"/>
            <ac:graphicFrameMk id="8" creationId="{9569C3D6-AD43-EC44-A5F4-BB3C74FC21B4}"/>
          </ac:graphicFrameMkLst>
        </pc:graphicFrameChg>
        <pc:graphicFrameChg chg="add mod">
          <ac:chgData name="Ekaterina Chunosova" userId="5c6ac274-c4f1-480b-9055-176083e1ba83" providerId="ADAL" clId="{188162B9-2153-B545-A215-B922018B88E2}" dt="2019-06-03T14:50:47.949" v="934"/>
          <ac:graphicFrameMkLst>
            <pc:docMk/>
            <pc:sldMk cId="424387413" sldId="258"/>
            <ac:graphicFrameMk id="28" creationId="{BEBD6F70-B78B-1C4C-BF52-EAD626E8B402}"/>
          </ac:graphicFrameMkLst>
        </pc:graphicFrameChg>
        <pc:picChg chg="del mod">
          <ac:chgData name="Ekaterina Chunosova" userId="5c6ac274-c4f1-480b-9055-176083e1ba83" providerId="ADAL" clId="{188162B9-2153-B545-A215-B922018B88E2}" dt="2019-06-03T13:51:49.619" v="264" actId="478"/>
          <ac:picMkLst>
            <pc:docMk/>
            <pc:sldMk cId="424387413" sldId="258"/>
            <ac:picMk id="6" creationId="{12C4FC25-799C-49E4-B8C1-79A199249626}"/>
          </ac:picMkLst>
        </pc:picChg>
        <pc:picChg chg="add mod">
          <ac:chgData name="Ekaterina Chunosova" userId="5c6ac274-c4f1-480b-9055-176083e1ba83" providerId="ADAL" clId="{188162B9-2153-B545-A215-B922018B88E2}" dt="2019-06-03T14:27:48.008" v="844" actId="1076"/>
          <ac:picMkLst>
            <pc:docMk/>
            <pc:sldMk cId="424387413" sldId="258"/>
            <ac:picMk id="22" creationId="{16A69E4B-8C9E-5546-BD7C-12F9B4DB0D52}"/>
          </ac:picMkLst>
        </pc:picChg>
        <pc:picChg chg="add mod">
          <ac:chgData name="Ekaterina Chunosova" userId="5c6ac274-c4f1-480b-9055-176083e1ba83" providerId="ADAL" clId="{188162B9-2153-B545-A215-B922018B88E2}" dt="2019-06-03T14:27:50.533" v="845" actId="1076"/>
          <ac:picMkLst>
            <pc:docMk/>
            <pc:sldMk cId="424387413" sldId="258"/>
            <ac:picMk id="24" creationId="{5E0996C4-730E-1643-9553-2AFA24879E29}"/>
          </ac:picMkLst>
        </pc:picChg>
        <pc:picChg chg="add mod">
          <ac:chgData name="Ekaterina Chunosova" userId="5c6ac274-c4f1-480b-9055-176083e1ba83" providerId="ADAL" clId="{188162B9-2153-B545-A215-B922018B88E2}" dt="2019-06-04T14:48:23.452" v="1710" actId="1076"/>
          <ac:picMkLst>
            <pc:docMk/>
            <pc:sldMk cId="424387413" sldId="258"/>
            <ac:picMk id="30" creationId="{38825D6C-DBC0-9D46-AF57-A6CF4EA94BAB}"/>
          </ac:picMkLst>
        </pc:picChg>
        <pc:cxnChg chg="add del mod">
          <ac:chgData name="Ekaterina Chunosova" userId="5c6ac274-c4f1-480b-9055-176083e1ba83" providerId="ADAL" clId="{188162B9-2153-B545-A215-B922018B88E2}" dt="2019-06-03T15:04:48.915" v="1183" actId="478"/>
          <ac:cxnSpMkLst>
            <pc:docMk/>
            <pc:sldMk cId="424387413" sldId="258"/>
            <ac:cxnSpMk id="4" creationId="{E793BC4C-653E-C040-9236-E8D365159FE3}"/>
          </ac:cxnSpMkLst>
        </pc:cxnChg>
        <pc:cxnChg chg="add mod">
          <ac:chgData name="Ekaterina Chunosova" userId="5c6ac274-c4f1-480b-9055-176083e1ba83" providerId="ADAL" clId="{188162B9-2153-B545-A215-B922018B88E2}" dt="2019-06-03T14:03:09.400" v="555" actId="692"/>
          <ac:cxnSpMkLst>
            <pc:docMk/>
            <pc:sldMk cId="424387413" sldId="258"/>
            <ac:cxnSpMk id="9" creationId="{E4A08416-2C8E-9249-98A9-9948F676263D}"/>
          </ac:cxnSpMkLst>
        </pc:cxnChg>
      </pc:sldChg>
      <pc:sldChg chg="addSp delSp modSp add">
        <pc:chgData name="Ekaterina Chunosova" userId="5c6ac274-c4f1-480b-9055-176083e1ba83" providerId="ADAL" clId="{188162B9-2153-B545-A215-B922018B88E2}" dt="2019-06-05T13:17:33.114" v="3517" actId="27636"/>
        <pc:sldMkLst>
          <pc:docMk/>
          <pc:sldMk cId="2566066036" sldId="262"/>
        </pc:sldMkLst>
        <pc:spChg chg="add mod">
          <ac:chgData name="Ekaterina Chunosova" userId="5c6ac274-c4f1-480b-9055-176083e1ba83" providerId="ADAL" clId="{188162B9-2153-B545-A215-B922018B88E2}" dt="2019-06-03T15:08:04.252" v="1219" actId="1076"/>
          <ac:spMkLst>
            <pc:docMk/>
            <pc:sldMk cId="2566066036" sldId="262"/>
            <ac:spMk id="2" creationId="{51E8AE82-347D-B34F-B221-900D88B90ED0}"/>
          </ac:spMkLst>
        </pc:spChg>
        <pc:spChg chg="add mod">
          <ac:chgData name="Ekaterina Chunosova" userId="5c6ac274-c4f1-480b-9055-176083e1ba83" providerId="ADAL" clId="{188162B9-2153-B545-A215-B922018B88E2}" dt="2019-06-04T14:06:58.409" v="1423" actId="1076"/>
          <ac:spMkLst>
            <pc:docMk/>
            <pc:sldMk cId="2566066036" sldId="262"/>
            <ac:spMk id="3" creationId="{3922DB33-3B9F-F04A-969C-682A5BE27DCB}"/>
          </ac:spMkLst>
        </pc:spChg>
        <pc:spChg chg="del">
          <ac:chgData name="Ekaterina Chunosova" userId="5c6ac274-c4f1-480b-9055-176083e1ba83" providerId="ADAL" clId="{188162B9-2153-B545-A215-B922018B88E2}" dt="2019-06-03T14:03:24.492" v="559" actId="478"/>
          <ac:spMkLst>
            <pc:docMk/>
            <pc:sldMk cId="2566066036" sldId="262"/>
            <ac:spMk id="5" creationId="{AB266333-4B91-4824-B5EC-3BD3B38E3007}"/>
          </ac:spMkLst>
        </pc:spChg>
        <pc:spChg chg="add mod">
          <ac:chgData name="Ekaterina Chunosova" userId="5c6ac274-c4f1-480b-9055-176083e1ba83" providerId="ADAL" clId="{188162B9-2153-B545-A215-B922018B88E2}" dt="2019-06-04T14:07:02.091" v="1424" actId="1076"/>
          <ac:spMkLst>
            <pc:docMk/>
            <pc:sldMk cId="2566066036" sldId="262"/>
            <ac:spMk id="6" creationId="{1408312B-DBC3-A942-A194-81781EA797CD}"/>
          </ac:spMkLst>
        </pc:spChg>
        <pc:spChg chg="add mod">
          <ac:chgData name="Ekaterina Chunosova" userId="5c6ac274-c4f1-480b-9055-176083e1ba83" providerId="ADAL" clId="{188162B9-2153-B545-A215-B922018B88E2}" dt="2019-06-04T14:07:07.759" v="1427" actId="113"/>
          <ac:spMkLst>
            <pc:docMk/>
            <pc:sldMk cId="2566066036" sldId="262"/>
            <ac:spMk id="7" creationId="{714AB004-28BE-914E-8A07-8D68195D3BD6}"/>
          </ac:spMkLst>
        </pc:spChg>
        <pc:spChg chg="del">
          <ac:chgData name="Ekaterina Chunosova" userId="5c6ac274-c4f1-480b-9055-176083e1ba83" providerId="ADAL" clId="{188162B9-2153-B545-A215-B922018B88E2}" dt="2019-06-03T14:03:21.691" v="558" actId="478"/>
          <ac:spMkLst>
            <pc:docMk/>
            <pc:sldMk cId="2566066036" sldId="262"/>
            <ac:spMk id="10" creationId="{D6060FCE-115C-504E-9C09-A645C9C8123E}"/>
          </ac:spMkLst>
        </pc:spChg>
        <pc:spChg chg="add mod">
          <ac:chgData name="Ekaterina Chunosova" userId="5c6ac274-c4f1-480b-9055-176083e1ba83" providerId="ADAL" clId="{188162B9-2153-B545-A215-B922018B88E2}" dt="2019-06-05T13:17:33.114" v="3517" actId="27636"/>
          <ac:spMkLst>
            <pc:docMk/>
            <pc:sldMk cId="2566066036" sldId="262"/>
            <ac:spMk id="21" creationId="{4E7210FB-DC92-8F4B-AF69-2BE8587136DA}"/>
          </ac:spMkLst>
        </pc:spChg>
        <pc:spChg chg="add mod">
          <ac:chgData name="Ekaterina Chunosova" userId="5c6ac274-c4f1-480b-9055-176083e1ba83" providerId="ADAL" clId="{188162B9-2153-B545-A215-B922018B88E2}" dt="2019-06-04T14:31:57.286" v="1462" actId="164"/>
          <ac:spMkLst>
            <pc:docMk/>
            <pc:sldMk cId="2566066036" sldId="262"/>
            <ac:spMk id="22" creationId="{FEA6D96E-144A-834D-8F4D-E52CB4658083}"/>
          </ac:spMkLst>
        </pc:spChg>
        <pc:grpChg chg="add mod">
          <ac:chgData name="Ekaterina Chunosova" userId="5c6ac274-c4f1-480b-9055-176083e1ba83" providerId="ADAL" clId="{188162B9-2153-B545-A215-B922018B88E2}" dt="2019-06-04T14:32:00.133" v="1463" actId="1076"/>
          <ac:grpSpMkLst>
            <pc:docMk/>
            <pc:sldMk cId="2566066036" sldId="262"/>
            <ac:grpSpMk id="8" creationId="{3D71A179-91C0-DF4E-B4B5-0D42032112C7}"/>
          </ac:grpSpMkLst>
        </pc:grpChg>
        <pc:graphicFrameChg chg="del">
          <ac:chgData name="Ekaterina Chunosova" userId="5c6ac274-c4f1-480b-9055-176083e1ba83" providerId="ADAL" clId="{188162B9-2153-B545-A215-B922018B88E2}" dt="2019-06-03T14:03:20.735" v="557" actId="478"/>
          <ac:graphicFrameMkLst>
            <pc:docMk/>
            <pc:sldMk cId="2566066036" sldId="262"/>
            <ac:graphicFrameMk id="8" creationId="{9569C3D6-AD43-EC44-A5F4-BB3C74FC21B4}"/>
          </ac:graphicFrameMkLst>
        </pc:graphicFrameChg>
        <pc:picChg chg="add mod modCrop">
          <ac:chgData name="Ekaterina Chunosova" userId="5c6ac274-c4f1-480b-9055-176083e1ba83" providerId="ADAL" clId="{188162B9-2153-B545-A215-B922018B88E2}" dt="2019-06-05T12:43:53.322" v="3120" actId="732"/>
          <ac:picMkLst>
            <pc:docMk/>
            <pc:sldMk cId="2566066036" sldId="262"/>
            <ac:picMk id="19" creationId="{867A1D18-FC0E-5D47-8E5B-25A0426E7EA5}"/>
          </ac:picMkLst>
        </pc:picChg>
        <pc:picChg chg="add mod">
          <ac:chgData name="Ekaterina Chunosova" userId="5c6ac274-c4f1-480b-9055-176083e1ba83" providerId="ADAL" clId="{188162B9-2153-B545-A215-B922018B88E2}" dt="2019-06-05T12:44:21.809" v="3127" actId="1076"/>
          <ac:picMkLst>
            <pc:docMk/>
            <pc:sldMk cId="2566066036" sldId="262"/>
            <ac:picMk id="24" creationId="{53A421AB-C14E-004B-9FF1-2C1A9985EFDE}"/>
          </ac:picMkLst>
        </pc:picChg>
        <pc:cxnChg chg="del">
          <ac:chgData name="Ekaterina Chunosova" userId="5c6ac274-c4f1-480b-9055-176083e1ba83" providerId="ADAL" clId="{188162B9-2153-B545-A215-B922018B88E2}" dt="2019-06-03T15:06:50.780" v="1198" actId="478"/>
          <ac:cxnSpMkLst>
            <pc:docMk/>
            <pc:sldMk cId="2566066036" sldId="262"/>
            <ac:cxnSpMk id="4" creationId="{E793BC4C-653E-C040-9236-E8D365159FE3}"/>
          </ac:cxnSpMkLst>
        </pc:cxnChg>
        <pc:cxnChg chg="del">
          <ac:chgData name="Ekaterina Chunosova" userId="5c6ac274-c4f1-480b-9055-176083e1ba83" providerId="ADAL" clId="{188162B9-2153-B545-A215-B922018B88E2}" dt="2019-06-04T13:53:17.694" v="1345" actId="478"/>
          <ac:cxnSpMkLst>
            <pc:docMk/>
            <pc:sldMk cId="2566066036" sldId="262"/>
            <ac:cxnSpMk id="4" creationId="{F37D0931-00C3-4B61-9EC9-1BD3FF5FC072}"/>
          </ac:cxnSpMkLst>
        </pc:cxnChg>
        <pc:cxnChg chg="mod">
          <ac:chgData name="Ekaterina Chunosova" userId="5c6ac274-c4f1-480b-9055-176083e1ba83" providerId="ADAL" clId="{188162B9-2153-B545-A215-B922018B88E2}" dt="2019-06-04T14:31:57.286" v="1462" actId="164"/>
          <ac:cxnSpMkLst>
            <pc:docMk/>
            <pc:sldMk cId="2566066036" sldId="262"/>
            <ac:cxnSpMk id="5" creationId="{F0FC333B-0484-4541-B4B5-0B1D20EE19A7}"/>
          </ac:cxnSpMkLst>
        </pc:cxnChg>
        <pc:cxnChg chg="add mod">
          <ac:chgData name="Ekaterina Chunosova" userId="5c6ac274-c4f1-480b-9055-176083e1ba83" providerId="ADAL" clId="{188162B9-2153-B545-A215-B922018B88E2}" dt="2019-06-04T14:31:57.286" v="1462" actId="164"/>
          <ac:cxnSpMkLst>
            <pc:docMk/>
            <pc:sldMk cId="2566066036" sldId="262"/>
            <ac:cxnSpMk id="23" creationId="{CCBA1179-E1C1-1249-A0E3-3F673A64773E}"/>
          </ac:cxnSpMkLst>
        </pc:cxnChg>
      </pc:sldChg>
      <pc:sldChg chg="addSp delSp modSp add ord">
        <pc:chgData name="Ekaterina Chunosova" userId="5c6ac274-c4f1-480b-9055-176083e1ba83" providerId="ADAL" clId="{188162B9-2153-B545-A215-B922018B88E2}" dt="2019-06-04T16:58:12.265" v="3086" actId="1076"/>
        <pc:sldMkLst>
          <pc:docMk/>
          <pc:sldMk cId="1110250214" sldId="265"/>
        </pc:sldMkLst>
        <pc:spChg chg="add mod">
          <ac:chgData name="Ekaterina Chunosova" userId="5c6ac274-c4f1-480b-9055-176083e1ba83" providerId="ADAL" clId="{188162B9-2153-B545-A215-B922018B88E2}" dt="2019-06-04T16:58:12.265" v="3086" actId="1076"/>
          <ac:spMkLst>
            <pc:docMk/>
            <pc:sldMk cId="1110250214" sldId="265"/>
            <ac:spMk id="2" creationId="{C2177AD9-FEE0-8B49-8666-CB6884C990AA}"/>
          </ac:spMkLst>
        </pc:spChg>
        <pc:spChg chg="add mod">
          <ac:chgData name="Ekaterina Chunosova" userId="5c6ac274-c4f1-480b-9055-176083e1ba83" providerId="ADAL" clId="{188162B9-2153-B545-A215-B922018B88E2}" dt="2019-06-04T16:00:38.800" v="2770" actId="1076"/>
          <ac:spMkLst>
            <pc:docMk/>
            <pc:sldMk cId="1110250214" sldId="265"/>
            <ac:spMk id="6" creationId="{4C7A1C8E-ABAD-3C4C-A3A3-61CB1A2B85B0}"/>
          </ac:spMkLst>
        </pc:spChg>
        <pc:spChg chg="add del mod">
          <ac:chgData name="Ekaterina Chunosova" userId="5c6ac274-c4f1-480b-9055-176083e1ba83" providerId="ADAL" clId="{188162B9-2153-B545-A215-B922018B88E2}" dt="2019-06-04T15:36:23.158" v="2225" actId="478"/>
          <ac:spMkLst>
            <pc:docMk/>
            <pc:sldMk cId="1110250214" sldId="265"/>
            <ac:spMk id="7" creationId="{8FBDF04D-8CDF-1B43-9CEE-DEAEEB19727C}"/>
          </ac:spMkLst>
        </pc:spChg>
        <pc:spChg chg="add del mod">
          <ac:chgData name="Ekaterina Chunosova" userId="5c6ac274-c4f1-480b-9055-176083e1ba83" providerId="ADAL" clId="{188162B9-2153-B545-A215-B922018B88E2}" dt="2019-06-04T15:46:31.688" v="2572" actId="478"/>
          <ac:spMkLst>
            <pc:docMk/>
            <pc:sldMk cId="1110250214" sldId="265"/>
            <ac:spMk id="22" creationId="{90E85DED-9A60-A344-A844-A6D482BC8D71}"/>
          </ac:spMkLst>
        </pc:spChg>
        <pc:spChg chg="add mod">
          <ac:chgData name="Ekaterina Chunosova" userId="5c6ac274-c4f1-480b-9055-176083e1ba83" providerId="ADAL" clId="{188162B9-2153-B545-A215-B922018B88E2}" dt="2019-06-04T16:00:45.221" v="2772" actId="1076"/>
          <ac:spMkLst>
            <pc:docMk/>
            <pc:sldMk cId="1110250214" sldId="265"/>
            <ac:spMk id="23" creationId="{EC8567F1-9BC5-6B42-B3AD-AAE820675CD6}"/>
          </ac:spMkLst>
        </pc:spChg>
        <pc:spChg chg="add mod">
          <ac:chgData name="Ekaterina Chunosova" userId="5c6ac274-c4f1-480b-9055-176083e1ba83" providerId="ADAL" clId="{188162B9-2153-B545-A215-B922018B88E2}" dt="2019-06-04T16:00:48.746" v="2773" actId="1076"/>
          <ac:spMkLst>
            <pc:docMk/>
            <pc:sldMk cId="1110250214" sldId="265"/>
            <ac:spMk id="25" creationId="{7D5D3551-6733-E44F-9701-582BF660EC3C}"/>
          </ac:spMkLst>
        </pc:spChg>
        <pc:spChg chg="add mod">
          <ac:chgData name="Ekaterina Chunosova" userId="5c6ac274-c4f1-480b-9055-176083e1ba83" providerId="ADAL" clId="{188162B9-2153-B545-A215-B922018B88E2}" dt="2019-06-04T16:56:57.221" v="3079" actId="1076"/>
          <ac:spMkLst>
            <pc:docMk/>
            <pc:sldMk cId="1110250214" sldId="265"/>
            <ac:spMk id="31" creationId="{3C7954C9-3EB2-D440-86B6-9183B4AA34ED}"/>
          </ac:spMkLst>
        </pc:spChg>
        <pc:grpChg chg="add mod">
          <ac:chgData name="Ekaterina Chunosova" userId="5c6ac274-c4f1-480b-9055-176083e1ba83" providerId="ADAL" clId="{188162B9-2153-B545-A215-B922018B88E2}" dt="2019-06-04T16:56:57.221" v="3079" actId="1076"/>
          <ac:grpSpMkLst>
            <pc:docMk/>
            <pc:sldMk cId="1110250214" sldId="265"/>
            <ac:grpSpMk id="8" creationId="{CBC3F1BC-0F89-1146-828B-B448BC85FFF9}"/>
          </ac:grpSpMkLst>
        </pc:grpChg>
        <pc:picChg chg="add mod">
          <ac:chgData name="Ekaterina Chunosova" userId="5c6ac274-c4f1-480b-9055-176083e1ba83" providerId="ADAL" clId="{188162B9-2153-B545-A215-B922018B88E2}" dt="2019-06-04T16:56:57.221" v="3079" actId="1076"/>
          <ac:picMkLst>
            <pc:docMk/>
            <pc:sldMk cId="1110250214" sldId="265"/>
            <ac:picMk id="26" creationId="{F748B3D4-FD2F-0742-9BF2-B6F69BE5B815}"/>
          </ac:picMkLst>
        </pc:picChg>
        <pc:picChg chg="add mod">
          <ac:chgData name="Ekaterina Chunosova" userId="5c6ac274-c4f1-480b-9055-176083e1ba83" providerId="ADAL" clId="{188162B9-2153-B545-A215-B922018B88E2}" dt="2019-06-04T16:56:57.221" v="3079" actId="1076"/>
          <ac:picMkLst>
            <pc:docMk/>
            <pc:sldMk cId="1110250214" sldId="265"/>
            <ac:picMk id="28" creationId="{BCEC1143-95AF-A44E-AB8B-C7810F435AED}"/>
          </ac:picMkLst>
        </pc:picChg>
        <pc:picChg chg="add mod">
          <ac:chgData name="Ekaterina Chunosova" userId="5c6ac274-c4f1-480b-9055-176083e1ba83" providerId="ADAL" clId="{188162B9-2153-B545-A215-B922018B88E2}" dt="2019-06-04T16:56:57.221" v="3079" actId="1076"/>
          <ac:picMkLst>
            <pc:docMk/>
            <pc:sldMk cId="1110250214" sldId="265"/>
            <ac:picMk id="30" creationId="{CAFEDEC4-EBD0-8C42-8B48-44E3134E895D}"/>
          </ac:picMkLst>
        </pc:picChg>
        <pc:picChg chg="add del mod">
          <ac:chgData name="Ekaterina Chunosova" userId="5c6ac274-c4f1-480b-9055-176083e1ba83" providerId="ADAL" clId="{188162B9-2153-B545-A215-B922018B88E2}" dt="2019-06-04T16:49:40.617" v="3071" actId="478"/>
          <ac:picMkLst>
            <pc:docMk/>
            <pc:sldMk cId="1110250214" sldId="265"/>
            <ac:picMk id="32" creationId="{C52ABEFE-B328-194C-9F8D-79A76E5FC9A9}"/>
          </ac:picMkLst>
        </pc:picChg>
        <pc:picChg chg="add mod">
          <ac:chgData name="Ekaterina Chunosova" userId="5c6ac274-c4f1-480b-9055-176083e1ba83" providerId="ADAL" clId="{188162B9-2153-B545-A215-B922018B88E2}" dt="2019-06-04T16:56:57.221" v="3079" actId="1076"/>
          <ac:picMkLst>
            <pc:docMk/>
            <pc:sldMk cId="1110250214" sldId="265"/>
            <ac:picMk id="33" creationId="{6EB224F6-3666-4F4F-874F-61A079326F21}"/>
          </ac:picMkLst>
        </pc:picChg>
        <pc:cxnChg chg="mod">
          <ac:chgData name="Ekaterina Chunosova" userId="5c6ac274-c4f1-480b-9055-176083e1ba83" providerId="ADAL" clId="{188162B9-2153-B545-A215-B922018B88E2}" dt="2019-06-04T16:58:01.441" v="3082" actId="1076"/>
          <ac:cxnSpMkLst>
            <pc:docMk/>
            <pc:sldMk cId="1110250214" sldId="265"/>
            <ac:cxnSpMk id="4" creationId="{E793BC4C-653E-C040-9236-E8D365159FE3}"/>
          </ac:cxnSpMkLst>
        </pc:cxnChg>
        <pc:cxnChg chg="add mod">
          <ac:chgData name="Ekaterina Chunosova" userId="5c6ac274-c4f1-480b-9055-176083e1ba83" providerId="ADAL" clId="{188162B9-2153-B545-A215-B922018B88E2}" dt="2019-06-04T15:48:21.233" v="2755" actId="164"/>
          <ac:cxnSpMkLst>
            <pc:docMk/>
            <pc:sldMk cId="1110250214" sldId="265"/>
            <ac:cxnSpMk id="5" creationId="{6161193C-C5B0-E44D-8724-14C55580C40C}"/>
          </ac:cxnSpMkLst>
        </pc:cxnChg>
        <pc:cxnChg chg="add mod">
          <ac:chgData name="Ekaterina Chunosova" userId="5c6ac274-c4f1-480b-9055-176083e1ba83" providerId="ADAL" clId="{188162B9-2153-B545-A215-B922018B88E2}" dt="2019-06-04T15:48:21.233" v="2755" actId="164"/>
          <ac:cxnSpMkLst>
            <pc:docMk/>
            <pc:sldMk cId="1110250214" sldId="265"/>
            <ac:cxnSpMk id="19" creationId="{6CE86334-6284-8F48-BE67-6A69A58F9E4E}"/>
          </ac:cxnSpMkLst>
        </pc:cxnChg>
        <pc:cxnChg chg="add del mod">
          <ac:chgData name="Ekaterina Chunosova" userId="5c6ac274-c4f1-480b-9055-176083e1ba83" providerId="ADAL" clId="{188162B9-2153-B545-A215-B922018B88E2}" dt="2019-06-04T15:36:33.710" v="2229" actId="478"/>
          <ac:cxnSpMkLst>
            <pc:docMk/>
            <pc:sldMk cId="1110250214" sldId="265"/>
            <ac:cxnSpMk id="21" creationId="{B09C9A17-FED9-5E4B-A061-2ED8D41E30C3}"/>
          </ac:cxnSpMkLst>
        </pc:cxnChg>
        <pc:cxnChg chg="add mod">
          <ac:chgData name="Ekaterina Chunosova" userId="5c6ac274-c4f1-480b-9055-176083e1ba83" providerId="ADAL" clId="{188162B9-2153-B545-A215-B922018B88E2}" dt="2019-06-04T15:48:21.233" v="2755" actId="164"/>
          <ac:cxnSpMkLst>
            <pc:docMk/>
            <pc:sldMk cId="1110250214" sldId="265"/>
            <ac:cxnSpMk id="24" creationId="{678E8EAC-A0BE-9744-8ABE-527CBB0FA123}"/>
          </ac:cxnSpMkLst>
        </pc:cxnChg>
      </pc:sldChg>
      <pc:sldChg chg="addSp delSp modSp add">
        <pc:chgData name="Ekaterina Chunosova" userId="5c6ac274-c4f1-480b-9055-176083e1ba83" providerId="ADAL" clId="{188162B9-2153-B545-A215-B922018B88E2}" dt="2019-06-05T13:26:42.341" v="3522" actId="1076"/>
        <pc:sldMkLst>
          <pc:docMk/>
          <pc:sldMk cId="752216926" sldId="266"/>
        </pc:sldMkLst>
        <pc:spChg chg="add del mod">
          <ac:chgData name="Ekaterina Chunosova" userId="5c6ac274-c4f1-480b-9055-176083e1ba83" providerId="ADAL" clId="{188162B9-2153-B545-A215-B922018B88E2}" dt="2019-06-05T12:37:15.169" v="3100"/>
          <ac:spMkLst>
            <pc:docMk/>
            <pc:sldMk cId="752216926" sldId="266"/>
            <ac:spMk id="5" creationId="{2205D315-1C23-E44E-AAC8-C4CEA88F675A}"/>
          </ac:spMkLst>
        </pc:spChg>
        <pc:spChg chg="add mod">
          <ac:chgData name="Ekaterina Chunosova" userId="5c6ac274-c4f1-480b-9055-176083e1ba83" providerId="ADAL" clId="{188162B9-2153-B545-A215-B922018B88E2}" dt="2019-06-05T13:05:39.165" v="3498" actId="1076"/>
          <ac:spMkLst>
            <pc:docMk/>
            <pc:sldMk cId="752216926" sldId="266"/>
            <ac:spMk id="6" creationId="{22AC7FD3-969C-A24A-82D4-9830D7079FA2}"/>
          </ac:spMkLst>
        </pc:spChg>
        <pc:spChg chg="add mod">
          <ac:chgData name="Ekaterina Chunosova" userId="5c6ac274-c4f1-480b-9055-176083e1ba83" providerId="ADAL" clId="{188162B9-2153-B545-A215-B922018B88E2}" dt="2019-06-05T13:05:59.263" v="3503" actId="113"/>
          <ac:spMkLst>
            <pc:docMk/>
            <pc:sldMk cId="752216926" sldId="266"/>
            <ac:spMk id="24" creationId="{19C926E6-3816-0348-A8C5-576DDD84EF8B}"/>
          </ac:spMkLst>
        </pc:spChg>
        <pc:spChg chg="add del mod">
          <ac:chgData name="Ekaterina Chunosova" userId="5c6ac274-c4f1-480b-9055-176083e1ba83" providerId="ADAL" clId="{188162B9-2153-B545-A215-B922018B88E2}" dt="2019-06-05T13:01:11.678" v="3368" actId="478"/>
          <ac:spMkLst>
            <pc:docMk/>
            <pc:sldMk cId="752216926" sldId="266"/>
            <ac:spMk id="25" creationId="{2D5EFB6E-7864-4549-B26C-42A247AE8D61}"/>
          </ac:spMkLst>
        </pc:spChg>
        <pc:spChg chg="add del mod">
          <ac:chgData name="Ekaterina Chunosova" userId="5c6ac274-c4f1-480b-9055-176083e1ba83" providerId="ADAL" clId="{188162B9-2153-B545-A215-B922018B88E2}" dt="2019-06-05T13:01:14.054" v="3369" actId="478"/>
          <ac:spMkLst>
            <pc:docMk/>
            <pc:sldMk cId="752216926" sldId="266"/>
            <ac:spMk id="30" creationId="{DFB6E0DF-B990-5D49-817A-009352042CC5}"/>
          </ac:spMkLst>
        </pc:spChg>
        <pc:grpChg chg="mod">
          <ac:chgData name="Ekaterina Chunosova" userId="5c6ac274-c4f1-480b-9055-176083e1ba83" providerId="ADAL" clId="{188162B9-2153-B545-A215-B922018B88E2}" dt="2019-06-05T12:49:00.681" v="3156" actId="1076"/>
          <ac:grpSpMkLst>
            <pc:docMk/>
            <pc:sldMk cId="752216926" sldId="266"/>
            <ac:grpSpMk id="11" creationId="{485F8677-013B-4F49-9A65-01710F92DA33}"/>
          </ac:grpSpMkLst>
        </pc:grpChg>
        <pc:picChg chg="add mod">
          <ac:chgData name="Ekaterina Chunosova" userId="5c6ac274-c4f1-480b-9055-176083e1ba83" providerId="ADAL" clId="{188162B9-2153-B545-A215-B922018B88E2}" dt="2019-06-05T13:26:35.559" v="3520" actId="1076"/>
          <ac:picMkLst>
            <pc:docMk/>
            <pc:sldMk cId="752216926" sldId="266"/>
            <ac:picMk id="3" creationId="{FC7C203A-B1F7-1D43-A77D-E91D342926AF}"/>
          </ac:picMkLst>
        </pc:picChg>
        <pc:picChg chg="add del mod">
          <ac:chgData name="Ekaterina Chunosova" userId="5c6ac274-c4f1-480b-9055-176083e1ba83" providerId="ADAL" clId="{188162B9-2153-B545-A215-B922018B88E2}" dt="2019-06-05T12:42:47.260" v="3108" actId="478"/>
          <ac:picMkLst>
            <pc:docMk/>
            <pc:sldMk cId="752216926" sldId="266"/>
            <ac:picMk id="8" creationId="{4E990D51-5AB9-BC4B-A620-E9303D20D798}"/>
          </ac:picMkLst>
        </pc:picChg>
        <pc:picChg chg="add mod modCrop">
          <ac:chgData name="Ekaterina Chunosova" userId="5c6ac274-c4f1-480b-9055-176083e1ba83" providerId="ADAL" clId="{188162B9-2153-B545-A215-B922018B88E2}" dt="2019-06-05T13:26:42.341" v="3522" actId="1076"/>
          <ac:picMkLst>
            <pc:docMk/>
            <pc:sldMk cId="752216926" sldId="266"/>
            <ac:picMk id="19" creationId="{1A9EC2E3-F0C5-F443-A3FA-826A5A0FB1C3}"/>
          </ac:picMkLst>
        </pc:picChg>
        <pc:picChg chg="add del mod">
          <ac:chgData name="Ekaterina Chunosova" userId="5c6ac274-c4f1-480b-9055-176083e1ba83" providerId="ADAL" clId="{188162B9-2153-B545-A215-B922018B88E2}" dt="2019-06-05T12:44:25.064" v="3128" actId="478"/>
          <ac:picMkLst>
            <pc:docMk/>
            <pc:sldMk cId="752216926" sldId="266"/>
            <ac:picMk id="21" creationId="{5170C82D-38EA-5941-968A-5F6770A5EBAC}"/>
          </ac:picMkLst>
        </pc:picChg>
        <pc:picChg chg="add mod">
          <ac:chgData name="Ekaterina Chunosova" userId="5c6ac274-c4f1-480b-9055-176083e1ba83" providerId="ADAL" clId="{188162B9-2153-B545-A215-B922018B88E2}" dt="2019-06-05T13:00:15.945" v="3357" actId="14100"/>
          <ac:picMkLst>
            <pc:docMk/>
            <pc:sldMk cId="752216926" sldId="266"/>
            <ac:picMk id="23" creationId="{781AB285-62D3-2248-BA36-EDF7DFEEB953}"/>
          </ac:picMkLst>
        </pc:picChg>
        <pc:picChg chg="add mod">
          <ac:chgData name="Ekaterina Chunosova" userId="5c6ac274-c4f1-480b-9055-176083e1ba83" providerId="ADAL" clId="{188162B9-2153-B545-A215-B922018B88E2}" dt="2019-06-05T13:26:39.846" v="3521" actId="1076"/>
          <ac:picMkLst>
            <pc:docMk/>
            <pc:sldMk cId="752216926" sldId="266"/>
            <ac:picMk id="27" creationId="{C4E74452-C92A-4946-9673-A97C9B42BD8E}"/>
          </ac:picMkLst>
        </pc:picChg>
        <pc:picChg chg="add mod">
          <ac:chgData name="Ekaterina Chunosova" userId="5c6ac274-c4f1-480b-9055-176083e1ba83" providerId="ADAL" clId="{188162B9-2153-B545-A215-B922018B88E2}" dt="2019-06-05T13:04:20.391" v="3411" actId="1076"/>
          <ac:picMkLst>
            <pc:docMk/>
            <pc:sldMk cId="752216926" sldId="266"/>
            <ac:picMk id="29" creationId="{6DC72D77-629B-4E47-9704-E601B5E06D63}"/>
          </ac:picMkLst>
        </pc:picChg>
        <pc:cxnChg chg="mod">
          <ac:chgData name="Ekaterina Chunosova" userId="5c6ac274-c4f1-480b-9055-176083e1ba83" providerId="ADAL" clId="{188162B9-2153-B545-A215-B922018B88E2}" dt="2019-06-05T13:04:34.973" v="3414" actId="1076"/>
          <ac:cxnSpMkLst>
            <pc:docMk/>
            <pc:sldMk cId="752216926" sldId="266"/>
            <ac:cxnSpMk id="4" creationId="{E793BC4C-653E-C040-9236-E8D365159FE3}"/>
          </ac:cxnSpMkLst>
        </pc:cxnChg>
      </pc:sldChg>
      <pc:sldChg chg="addSp delSp modSp">
        <pc:chgData name="Ekaterina Chunosova" userId="5c6ac274-c4f1-480b-9055-176083e1ba83" providerId="ADAL" clId="{188162B9-2153-B545-A215-B922018B88E2}" dt="2019-06-05T12:47:37.107" v="3130"/>
        <pc:sldMkLst>
          <pc:docMk/>
          <pc:sldMk cId="1520790659" sldId="270"/>
        </pc:sldMkLst>
        <pc:spChg chg="add mod">
          <ac:chgData name="Ekaterina Chunosova" userId="5c6ac274-c4f1-480b-9055-176083e1ba83" providerId="ADAL" clId="{188162B9-2153-B545-A215-B922018B88E2}" dt="2019-06-03T15:16:58.916" v="1311" actId="20577"/>
          <ac:spMkLst>
            <pc:docMk/>
            <pc:sldMk cId="1520790659" sldId="270"/>
            <ac:spMk id="3" creationId="{43C08017-28B1-E948-9FD9-16FBD7A91728}"/>
          </ac:spMkLst>
        </pc:spChg>
        <pc:spChg chg="add del">
          <ac:chgData name="Ekaterina Chunosova" userId="5c6ac274-c4f1-480b-9055-176083e1ba83" providerId="ADAL" clId="{188162B9-2153-B545-A215-B922018B88E2}" dt="2019-06-05T12:47:37.107" v="3130"/>
          <ac:spMkLst>
            <pc:docMk/>
            <pc:sldMk cId="1520790659" sldId="270"/>
            <ac:spMk id="4" creationId="{9B0E941B-EA6E-9241-B65C-1AC169945679}"/>
          </ac:spMkLst>
        </pc:spChg>
      </pc:sldChg>
      <pc:sldChg chg="addSp delSp modSp add ord">
        <pc:chgData name="Ekaterina Chunosova" userId="5c6ac274-c4f1-480b-9055-176083e1ba83" providerId="ADAL" clId="{188162B9-2153-B545-A215-B922018B88E2}" dt="2019-06-05T13:50:38.269" v="3531"/>
        <pc:sldMkLst>
          <pc:docMk/>
          <pc:sldMk cId="1285085625" sldId="271"/>
        </pc:sldMkLst>
        <pc:spChg chg="add mod">
          <ac:chgData name="Ekaterina Chunosova" userId="5c6ac274-c4f1-480b-9055-176083e1ba83" providerId="ADAL" clId="{188162B9-2153-B545-A215-B922018B88E2}" dt="2019-06-05T12:47:49.599" v="3146" actId="1076"/>
          <ac:spMkLst>
            <pc:docMk/>
            <pc:sldMk cId="1285085625" sldId="271"/>
            <ac:spMk id="2" creationId="{2CD4886E-3A85-B743-8C80-514B4E9E64D2}"/>
          </ac:spMkLst>
        </pc:spChg>
        <pc:spChg chg="mod">
          <ac:chgData name="Ekaterina Chunosova" userId="5c6ac274-c4f1-480b-9055-176083e1ba83" providerId="ADAL" clId="{188162B9-2153-B545-A215-B922018B88E2}" dt="2019-06-05T12:48:24.744" v="3154"/>
          <ac:spMkLst>
            <pc:docMk/>
            <pc:sldMk cId="1285085625" sldId="271"/>
            <ac:spMk id="6" creationId="{22AC7FD3-969C-A24A-82D4-9830D7079FA2}"/>
          </ac:spMkLst>
        </pc:spChg>
        <pc:picChg chg="del">
          <ac:chgData name="Ekaterina Chunosova" userId="5c6ac274-c4f1-480b-9055-176083e1ba83" providerId="ADAL" clId="{188162B9-2153-B545-A215-B922018B88E2}" dt="2019-06-05T12:47:42.439" v="3132" actId="478"/>
          <ac:picMkLst>
            <pc:docMk/>
            <pc:sldMk cId="1285085625" sldId="271"/>
            <ac:picMk id="3" creationId="{FC7C203A-B1F7-1D43-A77D-E91D342926AF}"/>
          </ac:picMkLst>
        </pc:picChg>
        <pc:picChg chg="add mod modCrop">
          <ac:chgData name="Ekaterina Chunosova" userId="5c6ac274-c4f1-480b-9055-176083e1ba83" providerId="ADAL" clId="{188162B9-2153-B545-A215-B922018B88E2}" dt="2019-06-05T13:50:31.145" v="3529" actId="14100"/>
          <ac:picMkLst>
            <pc:docMk/>
            <pc:sldMk cId="1285085625" sldId="271"/>
            <ac:picMk id="7" creationId="{C702FF2B-B5CC-2A4D-A7AE-4FDF52B34314}"/>
          </ac:picMkLst>
        </pc:picChg>
        <pc:picChg chg="del">
          <ac:chgData name="Ekaterina Chunosova" userId="5c6ac274-c4f1-480b-9055-176083e1ba83" providerId="ADAL" clId="{188162B9-2153-B545-A215-B922018B88E2}" dt="2019-06-05T12:47:43.953" v="3133" actId="478"/>
          <ac:picMkLst>
            <pc:docMk/>
            <pc:sldMk cId="1285085625" sldId="271"/>
            <ac:picMk id="19" creationId="{1A9EC2E3-F0C5-F443-A3FA-826A5A0FB1C3}"/>
          </ac:picMkLst>
        </pc:picChg>
      </pc:sldChg>
      <pc:sldChg chg="addSp delSp modSp mod ord setBg">
        <pc:chgData name="Ekaterina Chunosova" userId="5c6ac274-c4f1-480b-9055-176083e1ba83" providerId="ADAL" clId="{188162B9-2153-B545-A215-B922018B88E2}" dt="2019-06-05T13:48:57.633" v="3524"/>
        <pc:sldMkLst>
          <pc:docMk/>
          <pc:sldMk cId="1649489561" sldId="272"/>
        </pc:sldMkLst>
        <pc:spChg chg="add del mod">
          <ac:chgData name="Ekaterina Chunosova" userId="5c6ac274-c4f1-480b-9055-176083e1ba83" providerId="ADAL" clId="{188162B9-2153-B545-A215-B922018B88E2}" dt="2019-06-05T12:58:29.300" v="3338" actId="478"/>
          <ac:spMkLst>
            <pc:docMk/>
            <pc:sldMk cId="1649489561" sldId="272"/>
            <ac:spMk id="2" creationId="{C1912F99-ABAC-674A-9218-0D8974B23460}"/>
          </ac:spMkLst>
        </pc:spChg>
        <pc:spChg chg="mod">
          <ac:chgData name="Ekaterina Chunosova" userId="5c6ac274-c4f1-480b-9055-176083e1ba83" providerId="ADAL" clId="{188162B9-2153-B545-A215-B922018B88E2}" dt="2019-06-05T12:58:47.903" v="3347" actId="26606"/>
          <ac:spMkLst>
            <pc:docMk/>
            <pc:sldMk cId="1649489561" sldId="272"/>
            <ac:spMk id="5" creationId="{B6836C87-F082-4B4A-9046-D2F881B6E338}"/>
          </ac:spMkLst>
        </pc:spChg>
        <pc:spChg chg="add del">
          <ac:chgData name="Ekaterina Chunosova" userId="5c6ac274-c4f1-480b-9055-176083e1ba83" providerId="ADAL" clId="{188162B9-2153-B545-A215-B922018B88E2}" dt="2019-06-05T12:58:47.903" v="3347" actId="26606"/>
          <ac:spMkLst>
            <pc:docMk/>
            <pc:sldMk cId="1649489561" sldId="272"/>
            <ac:spMk id="12" creationId="{799A8B4F-0FED-46C0-9186-5A8E116D8744}"/>
          </ac:spMkLst>
        </pc:spChg>
        <pc:spChg chg="add del">
          <ac:chgData name="Ekaterina Chunosova" userId="5c6ac274-c4f1-480b-9055-176083e1ba83" providerId="ADAL" clId="{188162B9-2153-B545-A215-B922018B88E2}" dt="2019-06-05T12:58:47.903" v="3347" actId="26606"/>
          <ac:spMkLst>
            <pc:docMk/>
            <pc:sldMk cId="1649489561" sldId="272"/>
            <ac:spMk id="16" creationId="{38A69B74-22E3-47CC-823F-18BE7930C814}"/>
          </ac:spMkLst>
        </pc:spChg>
        <pc:spChg chg="add del">
          <ac:chgData name="Ekaterina Chunosova" userId="5c6ac274-c4f1-480b-9055-176083e1ba83" providerId="ADAL" clId="{188162B9-2153-B545-A215-B922018B88E2}" dt="2019-06-05T12:58:47.903" v="3347" actId="26606"/>
          <ac:spMkLst>
            <pc:docMk/>
            <pc:sldMk cId="1649489561" sldId="272"/>
            <ac:spMk id="18" creationId="{1778637B-5DB8-4A75-B2E6-FC2B1BB9A7DB}"/>
          </ac:spMkLst>
        </pc:spChg>
        <pc:spChg chg="add del">
          <ac:chgData name="Ekaterina Chunosova" userId="5c6ac274-c4f1-480b-9055-176083e1ba83" providerId="ADAL" clId="{188162B9-2153-B545-A215-B922018B88E2}" dt="2019-06-05T12:58:47.903" v="3347" actId="26606"/>
          <ac:spMkLst>
            <pc:docMk/>
            <pc:sldMk cId="1649489561" sldId="272"/>
            <ac:spMk id="20" creationId="{0035A30C-45F3-4EFB-B2E8-6E2A11843D39}"/>
          </ac:spMkLst>
        </pc:spChg>
        <pc:picChg chg="mod ord">
          <ac:chgData name="Ekaterina Chunosova" userId="5c6ac274-c4f1-480b-9055-176083e1ba83" providerId="ADAL" clId="{188162B9-2153-B545-A215-B922018B88E2}" dt="2019-06-05T12:58:47.903" v="3347" actId="26606"/>
          <ac:picMkLst>
            <pc:docMk/>
            <pc:sldMk cId="1649489561" sldId="272"/>
            <ac:picMk id="4" creationId="{580976B6-038C-4BDA-8BCE-F4635E881E4F}"/>
          </ac:picMkLst>
        </pc:picChg>
        <pc:picChg chg="mod">
          <ac:chgData name="Ekaterina Chunosova" userId="5c6ac274-c4f1-480b-9055-176083e1ba83" providerId="ADAL" clId="{188162B9-2153-B545-A215-B922018B88E2}" dt="2019-06-05T12:58:47.903" v="3347" actId="26606"/>
          <ac:picMkLst>
            <pc:docMk/>
            <pc:sldMk cId="1649489561" sldId="272"/>
            <ac:picMk id="6" creationId="{25669C9B-5710-4BB2-996B-4E0AA295A7D3}"/>
          </ac:picMkLst>
        </pc:picChg>
        <pc:picChg chg="add mod">
          <ac:chgData name="Ekaterina Chunosova" userId="5c6ac274-c4f1-480b-9055-176083e1ba83" providerId="ADAL" clId="{188162B9-2153-B545-A215-B922018B88E2}" dt="2019-06-05T12:58:57.849" v="3351" actId="1076"/>
          <ac:picMkLst>
            <pc:docMk/>
            <pc:sldMk cId="1649489561" sldId="272"/>
            <ac:picMk id="7" creationId="{892FC77A-8391-EE48-8226-A190B02F2A2D}"/>
          </ac:picMkLst>
        </pc:picChg>
        <pc:picChg chg="add del">
          <ac:chgData name="Ekaterina Chunosova" userId="5c6ac274-c4f1-480b-9055-176083e1ba83" providerId="ADAL" clId="{188162B9-2153-B545-A215-B922018B88E2}" dt="2019-06-05T12:58:47.903" v="3347" actId="26606"/>
          <ac:picMkLst>
            <pc:docMk/>
            <pc:sldMk cId="1649489561" sldId="272"/>
            <ac:picMk id="14" creationId="{DA6861EE-7660-46C9-80BD-173B8F7454B8}"/>
          </ac:picMkLst>
        </pc:picChg>
      </pc:sldChg>
      <pc:sldChg chg="ord">
        <pc:chgData name="Ekaterina Chunosova" userId="5c6ac274-c4f1-480b-9055-176083e1ba83" providerId="ADAL" clId="{188162B9-2153-B545-A215-B922018B88E2}" dt="2019-06-05T13:49:15.414" v="3527"/>
        <pc:sldMkLst>
          <pc:docMk/>
          <pc:sldMk cId="3140807147" sldId="274"/>
        </pc:sldMkLst>
      </pc:sldChg>
      <pc:sldChg chg="addSp delSp modSp">
        <pc:chgData name="Ekaterina Chunosova" userId="5c6ac274-c4f1-480b-9055-176083e1ba83" providerId="ADAL" clId="{188162B9-2153-B545-A215-B922018B88E2}" dt="2019-06-06T14:52:35.810" v="3571" actId="164"/>
        <pc:sldMkLst>
          <pc:docMk/>
          <pc:sldMk cId="888234551" sldId="283"/>
        </pc:sldMkLst>
        <pc:grpChg chg="add mod">
          <ac:chgData name="Ekaterina Chunosova" userId="5c6ac274-c4f1-480b-9055-176083e1ba83" providerId="ADAL" clId="{188162B9-2153-B545-A215-B922018B88E2}" dt="2019-06-06T14:52:35.810" v="3571" actId="164"/>
          <ac:grpSpMkLst>
            <pc:docMk/>
            <pc:sldMk cId="888234551" sldId="283"/>
            <ac:grpSpMk id="4" creationId="{61C2AC60-574E-B742-8FE4-993ABE6D6C25}"/>
          </ac:grpSpMkLst>
        </pc:grpChg>
        <pc:grpChg chg="del mod">
          <ac:chgData name="Ekaterina Chunosova" userId="5c6ac274-c4f1-480b-9055-176083e1ba83" providerId="ADAL" clId="{188162B9-2153-B545-A215-B922018B88E2}" dt="2019-06-06T14:49:26.971" v="3544" actId="165"/>
          <ac:grpSpMkLst>
            <pc:docMk/>
            <pc:sldMk cId="888234551" sldId="283"/>
            <ac:grpSpMk id="74" creationId="{5D8347AD-1DDE-4D78-A152-20E3A7C53E77}"/>
          </ac:grpSpMkLst>
        </pc:grpChg>
        <pc:picChg chg="add mod modCrop">
          <ac:chgData name="Ekaterina Chunosova" userId="5c6ac274-c4f1-480b-9055-176083e1ba83" providerId="ADAL" clId="{188162B9-2153-B545-A215-B922018B88E2}" dt="2019-06-06T14:52:35.810" v="3571" actId="164"/>
          <ac:picMkLst>
            <pc:docMk/>
            <pc:sldMk cId="888234551" sldId="283"/>
            <ac:picMk id="2" creationId="{16C9D7E6-5E8D-254D-877B-90CFED4DE331}"/>
          </ac:picMkLst>
        </pc:picChg>
        <pc:picChg chg="add mod modCrop">
          <ac:chgData name="Ekaterina Chunosova" userId="5c6ac274-c4f1-480b-9055-176083e1ba83" providerId="ADAL" clId="{188162B9-2153-B545-A215-B922018B88E2}" dt="2019-06-06T14:52:35.810" v="3571" actId="164"/>
          <ac:picMkLst>
            <pc:docMk/>
            <pc:sldMk cId="888234551" sldId="283"/>
            <ac:picMk id="17" creationId="{A0AB3943-B7AB-7F48-B2F4-3CB9D6E7CB86}"/>
          </ac:picMkLst>
        </pc:picChg>
        <pc:picChg chg="del mod topLvl">
          <ac:chgData name="Ekaterina Chunosova" userId="5c6ac274-c4f1-480b-9055-176083e1ba83" providerId="ADAL" clId="{188162B9-2153-B545-A215-B922018B88E2}" dt="2019-06-06T14:51:05.051" v="3552" actId="478"/>
          <ac:picMkLst>
            <pc:docMk/>
            <pc:sldMk cId="888234551" sldId="283"/>
            <ac:picMk id="75" creationId="{7C8869C1-A408-47E7-86CC-E794CBA2C606}"/>
          </ac:picMkLst>
        </pc:picChg>
        <pc:picChg chg="del mod topLvl">
          <ac:chgData name="Ekaterina Chunosova" userId="5c6ac274-c4f1-480b-9055-176083e1ba83" providerId="ADAL" clId="{188162B9-2153-B545-A215-B922018B88E2}" dt="2019-06-06T14:51:05.941" v="3553" actId="478"/>
          <ac:picMkLst>
            <pc:docMk/>
            <pc:sldMk cId="888234551" sldId="283"/>
            <ac:picMk id="76" creationId="{932924E2-0E20-4439-9A96-6AA1549B2E2B}"/>
          </ac:picMkLst>
        </pc:picChg>
      </pc:sldChg>
      <pc:sldMasterChg chg="setBg">
        <pc:chgData name="Ekaterina Chunosova" userId="5c6ac274-c4f1-480b-9055-176083e1ba83" providerId="ADAL" clId="{188162B9-2153-B545-A215-B922018B88E2}" dt="2019-06-05T13:17:00.061" v="3513"/>
        <pc:sldMasterMkLst>
          <pc:docMk/>
          <pc:sldMasterMk cId="3035963793" sldId="2147483908"/>
        </pc:sldMasterMkLst>
      </pc:sldMasterChg>
      <pc:sldMasterChg chg="setBg">
        <pc:chgData name="Ekaterina Chunosova" userId="5c6ac274-c4f1-480b-9055-176083e1ba83" providerId="ADAL" clId="{188162B9-2153-B545-A215-B922018B88E2}" dt="2019-06-05T13:17:40.433" v="3519"/>
        <pc:sldMasterMkLst>
          <pc:docMk/>
          <pc:sldMasterMk cId="168708742" sldId="2147484010"/>
        </pc:sldMasterMkLst>
      </pc:sldMasterChg>
    </pc:docChg>
  </pc:docChgLst>
  <pc:docChgLst>
    <pc:chgData name="Moutaz Al-Huneidi" userId="S::m.huneidi@student.ie.edu::ef06bd39-2c7b-4910-9028-4578ed52836d" providerId="AD" clId="Web-{BB97EF11-8498-393F-A13E-14222012D72F}"/>
    <pc:docChg chg="modSld">
      <pc:chgData name="Moutaz Al-Huneidi" userId="S::m.huneidi@student.ie.edu::ef06bd39-2c7b-4910-9028-4578ed52836d" providerId="AD" clId="Web-{BB97EF11-8498-393F-A13E-14222012D72F}" dt="2019-06-05T12:37:56.646" v="0" actId="1076"/>
      <pc:docMkLst>
        <pc:docMk/>
      </pc:docMkLst>
      <pc:sldChg chg="modSp">
        <pc:chgData name="Moutaz Al-Huneidi" userId="S::m.huneidi@student.ie.edu::ef06bd39-2c7b-4910-9028-4578ed52836d" providerId="AD" clId="Web-{BB97EF11-8498-393F-A13E-14222012D72F}" dt="2019-06-05T12:37:56.646" v="0" actId="1076"/>
        <pc:sldMkLst>
          <pc:docMk/>
          <pc:sldMk cId="424387413" sldId="258"/>
        </pc:sldMkLst>
        <pc:graphicFrameChg chg="mod">
          <ac:chgData name="Moutaz Al-Huneidi" userId="S::m.huneidi@student.ie.edu::ef06bd39-2c7b-4910-9028-4578ed52836d" providerId="AD" clId="Web-{BB97EF11-8498-393F-A13E-14222012D72F}" dt="2019-06-05T12:37:56.646" v="0" actId="1076"/>
          <ac:graphicFrameMkLst>
            <pc:docMk/>
            <pc:sldMk cId="424387413" sldId="258"/>
            <ac:graphicFrameMk id="28" creationId="{BEBD6F70-B78B-1C4C-BF52-EAD626E8B402}"/>
          </ac:graphicFrameMkLst>
        </pc:graphicFrameChg>
      </pc:sldChg>
    </pc:docChg>
  </pc:docChgLst>
  <pc:docChgLst>
    <pc:chgData name="Ekaterina Chunosova" userId="S::kate.chunosova@student.ie.edu::5c6ac274-c4f1-480b-9055-176083e1ba83" providerId="AD" clId="Web-{F087B495-935D-EA40-BFBD-DC21CD4EBD8F}"/>
    <pc:docChg chg="modSld">
      <pc:chgData name="Ekaterina Chunosova" userId="S::kate.chunosova@student.ie.edu::5c6ac274-c4f1-480b-9055-176083e1ba83" providerId="AD" clId="Web-{F087B495-935D-EA40-BFBD-DC21CD4EBD8F}" dt="2019-06-04T13:52:09.625" v="30" actId="14100"/>
      <pc:docMkLst>
        <pc:docMk/>
      </pc:docMkLst>
    </pc:docChg>
  </pc:docChgLst>
  <pc:docChgLst>
    <pc:chgData name="Rosalía Contreras Moreira" userId="S::rosalia.contreras@student.ie.edu::3da3a5f9-33c0-4429-8f47-9e07633ef5b1" providerId="AD" clId="Web-{3F2EAA65-D408-EFB3-60F8-635B30CEF697}"/>
    <pc:docChg chg="modSld">
      <pc:chgData name="Rosalía Contreras Moreira" userId="S::rosalia.contreras@student.ie.edu::3da3a5f9-33c0-4429-8f47-9e07633ef5b1" providerId="AD" clId="Web-{3F2EAA65-D408-EFB3-60F8-635B30CEF697}" dt="2019-06-03T19:42:53.709" v="187" actId="1076"/>
      <pc:docMkLst>
        <pc:docMk/>
      </pc:docMkLst>
    </pc:docChg>
  </pc:docChgLst>
  <pc:docChgLst>
    <pc:chgData name="Juan Pablo Larrondo Petricio" userId="5d65fc26-8871-4c8b-989a-866f645caef6" providerId="ADAL" clId="{93B19B62-AAA3-4ECD-81DF-7FAE89281A1F}"/>
    <pc:docChg chg="undo custSel addSld delSld modSld sldOrd">
      <pc:chgData name="Juan Pablo Larrondo Petricio" userId="5d65fc26-8871-4c8b-989a-866f645caef6" providerId="ADAL" clId="{93B19B62-AAA3-4ECD-81DF-7FAE89281A1F}" dt="2019-06-06T15:18:38.918" v="1013" actId="1035"/>
      <pc:docMkLst>
        <pc:docMk/>
      </pc:docMkLst>
      <pc:sldChg chg="addSp delSp modSp add modTransition">
        <pc:chgData name="Juan Pablo Larrondo Petricio" userId="5d65fc26-8871-4c8b-989a-866f645caef6" providerId="ADAL" clId="{93B19B62-AAA3-4ECD-81DF-7FAE89281A1F}" dt="2019-06-05T14:48:02.631" v="694"/>
        <pc:sldMkLst>
          <pc:docMk/>
          <pc:sldMk cId="424387413" sldId="258"/>
        </pc:sldMkLst>
        <pc:spChg chg="add mod">
          <ac:chgData name="Juan Pablo Larrondo Petricio" userId="5d65fc26-8871-4c8b-989a-866f645caef6" providerId="ADAL" clId="{93B19B62-AAA3-4ECD-81DF-7FAE89281A1F}" dt="2019-06-03T13:29:28.108" v="348" actId="313"/>
          <ac:spMkLst>
            <pc:docMk/>
            <pc:sldMk cId="424387413" sldId="258"/>
            <ac:spMk id="7" creationId="{56092D42-4263-4D1B-A270-55BA14403C29}"/>
          </ac:spMkLst>
        </pc:spChg>
        <pc:picChg chg="add del">
          <ac:chgData name="Juan Pablo Larrondo Petricio" userId="5d65fc26-8871-4c8b-989a-866f645caef6" providerId="ADAL" clId="{93B19B62-AAA3-4ECD-81DF-7FAE89281A1F}" dt="2019-06-03T13:21:09.466" v="47"/>
          <ac:picMkLst>
            <pc:docMk/>
            <pc:sldMk cId="424387413" sldId="258"/>
            <ac:picMk id="3" creationId="{8E6B6192-048E-49D5-BB8E-30EA19CED6CD}"/>
          </ac:picMkLst>
        </pc:picChg>
        <pc:picChg chg="del mod">
          <ac:chgData name="Juan Pablo Larrondo Petricio" userId="5d65fc26-8871-4c8b-989a-866f645caef6" providerId="ADAL" clId="{93B19B62-AAA3-4ECD-81DF-7FAE89281A1F}" dt="2019-06-03T13:19:28.120" v="41" actId="478"/>
          <ac:picMkLst>
            <pc:docMk/>
            <pc:sldMk cId="424387413" sldId="258"/>
            <ac:picMk id="4" creationId="{2370B55B-42F3-4D79-8CAD-303563444315}"/>
          </ac:picMkLst>
        </pc:picChg>
        <pc:picChg chg="mod">
          <ac:chgData name="Juan Pablo Larrondo Petricio" userId="5d65fc26-8871-4c8b-989a-866f645caef6" providerId="ADAL" clId="{93B19B62-AAA3-4ECD-81DF-7FAE89281A1F}" dt="2019-06-03T13:23:38.019" v="55" actId="14100"/>
          <ac:picMkLst>
            <pc:docMk/>
            <pc:sldMk cId="424387413" sldId="258"/>
            <ac:picMk id="6" creationId="{12C4FC25-799C-49E4-B8C1-79A199249626}"/>
          </ac:picMkLst>
        </pc:picChg>
      </pc:sldChg>
      <pc:sldChg chg="addSp delSp modSp add">
        <pc:chgData name="Juan Pablo Larrondo Petricio" userId="5d65fc26-8871-4c8b-989a-866f645caef6" providerId="ADAL" clId="{93B19B62-AAA3-4ECD-81DF-7FAE89281A1F}" dt="2019-06-05T13:59:07.557" v="660"/>
        <pc:sldMkLst>
          <pc:docMk/>
          <pc:sldMk cId="482445468" sldId="262"/>
        </pc:sldMkLst>
        <pc:spChg chg="del">
          <ac:chgData name="Juan Pablo Larrondo Petricio" userId="5d65fc26-8871-4c8b-989a-866f645caef6" providerId="ADAL" clId="{93B19B62-AAA3-4ECD-81DF-7FAE89281A1F}" dt="2019-06-05T13:59:06.969" v="648" actId="478"/>
          <ac:spMkLst>
            <pc:docMk/>
            <pc:sldMk cId="482445468" sldId="262"/>
            <ac:spMk id="2" creationId="{B97006BA-BD6F-4087-A74C-AF4C8FABA2A2}"/>
          </ac:spMkLst>
        </pc:spChg>
        <pc:spChg chg="del">
          <ac:chgData name="Juan Pablo Larrondo Petricio" userId="5d65fc26-8871-4c8b-989a-866f645caef6" providerId="ADAL" clId="{93B19B62-AAA3-4ECD-81DF-7FAE89281A1F}" dt="2019-06-05T13:59:06.969" v="648" actId="478"/>
          <ac:spMkLst>
            <pc:docMk/>
            <pc:sldMk cId="482445468" sldId="262"/>
            <ac:spMk id="3" creationId="{B6AE0B8B-931E-4470-A864-B96DA6FF0DB0}"/>
          </ac:spMkLst>
        </pc:spChg>
        <pc:spChg chg="del">
          <ac:chgData name="Juan Pablo Larrondo Petricio" userId="5d65fc26-8871-4c8b-989a-866f645caef6" providerId="ADAL" clId="{93B19B62-AAA3-4ECD-81DF-7FAE89281A1F}" dt="2019-06-05T13:59:06.969" v="648" actId="478"/>
          <ac:spMkLst>
            <pc:docMk/>
            <pc:sldMk cId="482445468" sldId="262"/>
            <ac:spMk id="4" creationId="{2D7A87BE-3000-4C37-91B5-8A9D6B476F42}"/>
          </ac:spMkLst>
        </pc:spChg>
        <pc:graphicFrameChg chg="add mod">
          <ac:chgData name="Juan Pablo Larrondo Petricio" userId="5d65fc26-8871-4c8b-989a-866f645caef6" providerId="ADAL" clId="{93B19B62-AAA3-4ECD-81DF-7FAE89281A1F}" dt="2019-06-05T13:59:07.557" v="660"/>
          <ac:graphicFrameMkLst>
            <pc:docMk/>
            <pc:sldMk cId="482445468" sldId="262"/>
            <ac:graphicFrameMk id="5" creationId="{D409BB98-6F18-4012-92B3-7D26BD6E65D5}"/>
          </ac:graphicFrameMkLst>
        </pc:graphicFrameChg>
      </pc:sldChg>
      <pc:sldChg chg="del">
        <pc:chgData name="Juan Pablo Larrondo Petricio" userId="5d65fc26-8871-4c8b-989a-866f645caef6" providerId="ADAL" clId="{93B19B62-AAA3-4ECD-81DF-7FAE89281A1F}" dt="2019-06-05T14:41:16.180" v="665" actId="2696"/>
        <pc:sldMkLst>
          <pc:docMk/>
          <pc:sldMk cId="1520790659" sldId="270"/>
        </pc:sldMkLst>
      </pc:sldChg>
      <pc:sldChg chg="add">
        <pc:chgData name="Juan Pablo Larrondo Petricio" userId="5d65fc26-8871-4c8b-989a-866f645caef6" providerId="ADAL" clId="{93B19B62-AAA3-4ECD-81DF-7FAE89281A1F}" dt="2019-06-05T13:59:31.606" v="661"/>
        <pc:sldMkLst>
          <pc:docMk/>
          <pc:sldMk cId="787179459" sldId="273"/>
        </pc:sldMkLst>
      </pc:sldChg>
      <pc:sldChg chg="del">
        <pc:chgData name="Juan Pablo Larrondo Petricio" userId="5d65fc26-8871-4c8b-989a-866f645caef6" providerId="ADAL" clId="{93B19B62-AAA3-4ECD-81DF-7FAE89281A1F}" dt="2019-06-05T14:40:07.129" v="663" actId="2696"/>
        <pc:sldMkLst>
          <pc:docMk/>
          <pc:sldMk cId="2831212902" sldId="273"/>
        </pc:sldMkLst>
      </pc:sldChg>
      <pc:sldChg chg="add">
        <pc:chgData name="Juan Pablo Larrondo Petricio" userId="5d65fc26-8871-4c8b-989a-866f645caef6" providerId="ADAL" clId="{93B19B62-AAA3-4ECD-81DF-7FAE89281A1F}" dt="2019-06-05T13:59:31.606" v="661"/>
        <pc:sldMkLst>
          <pc:docMk/>
          <pc:sldMk cId="3724255918" sldId="274"/>
        </pc:sldMkLst>
      </pc:sldChg>
      <pc:sldChg chg="modSp add ord modTransition">
        <pc:chgData name="Juan Pablo Larrondo Petricio" userId="5d65fc26-8871-4c8b-989a-866f645caef6" providerId="ADAL" clId="{93B19B62-AAA3-4ECD-81DF-7FAE89281A1F}" dt="2019-06-05T14:47:53.706" v="693"/>
        <pc:sldMkLst>
          <pc:docMk/>
          <pc:sldMk cId="3077758461" sldId="275"/>
        </pc:sldMkLst>
        <pc:spChg chg="mod">
          <ac:chgData name="Juan Pablo Larrondo Petricio" userId="5d65fc26-8871-4c8b-989a-866f645caef6" providerId="ADAL" clId="{93B19B62-AAA3-4ECD-81DF-7FAE89281A1F}" dt="2019-06-05T14:47:28.778" v="689" actId="6549"/>
          <ac:spMkLst>
            <pc:docMk/>
            <pc:sldMk cId="3077758461" sldId="275"/>
            <ac:spMk id="6" creationId="{602F7F2A-8F72-4E03-9D1D-6C0FAA48B299}"/>
          </ac:spMkLst>
        </pc:spChg>
        <pc:spChg chg="mod">
          <ac:chgData name="Juan Pablo Larrondo Petricio" userId="5d65fc26-8871-4c8b-989a-866f645caef6" providerId="ADAL" clId="{93B19B62-AAA3-4ECD-81DF-7FAE89281A1F}" dt="2019-06-05T14:47:28.102" v="667"/>
          <ac:spMkLst>
            <pc:docMk/>
            <pc:sldMk cId="3077758461" sldId="275"/>
            <ac:spMk id="78" creationId="{01ED4E22-F2C5-408D-9102-3220CBC919C6}"/>
          </ac:spMkLst>
        </pc:spChg>
        <pc:graphicFrameChg chg="mod">
          <ac:chgData name="Juan Pablo Larrondo Petricio" userId="5d65fc26-8871-4c8b-989a-866f645caef6" providerId="ADAL" clId="{93B19B62-AAA3-4ECD-81DF-7FAE89281A1F}" dt="2019-06-05T14:47:28.829" v="691"/>
          <ac:graphicFrameMkLst>
            <pc:docMk/>
            <pc:sldMk cId="3077758461" sldId="275"/>
            <ac:graphicFrameMk id="4" creationId="{18D24A8D-DBC6-443A-8EE1-82B494DE40B6}"/>
          </ac:graphicFrameMkLst>
        </pc:graphicFrameChg>
      </pc:sldChg>
      <pc:sldChg chg="del">
        <pc:chgData name="Juan Pablo Larrondo Petricio" userId="5d65fc26-8871-4c8b-989a-866f645caef6" providerId="ADAL" clId="{93B19B62-AAA3-4ECD-81DF-7FAE89281A1F}" dt="2019-06-05T14:40:07.121" v="662" actId="2696"/>
        <pc:sldMkLst>
          <pc:docMk/>
          <pc:sldMk cId="482445468" sldId="276"/>
        </pc:sldMkLst>
      </pc:sldChg>
      <pc:sldChg chg="ord modTransition">
        <pc:chgData name="Juan Pablo Larrondo Petricio" userId="5d65fc26-8871-4c8b-989a-866f645caef6" providerId="ADAL" clId="{93B19B62-AAA3-4ECD-81DF-7FAE89281A1F}" dt="2019-06-05T14:48:02.631" v="694"/>
        <pc:sldMkLst>
          <pc:docMk/>
          <pc:sldMk cId="787179459" sldId="277"/>
        </pc:sldMkLst>
      </pc:sldChg>
      <pc:sldChg chg="ord">
        <pc:chgData name="Juan Pablo Larrondo Petricio" userId="5d65fc26-8871-4c8b-989a-866f645caef6" providerId="ADAL" clId="{93B19B62-AAA3-4ECD-81DF-7FAE89281A1F}" dt="2019-06-05T14:50:07.952" v="695"/>
        <pc:sldMkLst>
          <pc:docMk/>
          <pc:sldMk cId="3724255918" sldId="278"/>
        </pc:sldMkLst>
      </pc:sldChg>
      <pc:sldChg chg="addSp delSp modSp">
        <pc:chgData name="Juan Pablo Larrondo Petricio" userId="5d65fc26-8871-4c8b-989a-866f645caef6" providerId="ADAL" clId="{93B19B62-AAA3-4ECD-81DF-7FAE89281A1F}" dt="2019-06-06T15:18:38.918" v="1013" actId="1035"/>
        <pc:sldMkLst>
          <pc:docMk/>
          <pc:sldMk cId="3211345518" sldId="284"/>
        </pc:sldMkLst>
        <pc:spChg chg="add mod">
          <ac:chgData name="Juan Pablo Larrondo Petricio" userId="5d65fc26-8871-4c8b-989a-866f645caef6" providerId="ADAL" clId="{93B19B62-AAA3-4ECD-81DF-7FAE89281A1F}" dt="2019-06-06T15:18:38.918" v="1013" actId="1035"/>
          <ac:spMkLst>
            <pc:docMk/>
            <pc:sldMk cId="3211345518" sldId="284"/>
            <ac:spMk id="12" creationId="{F26F5EDE-8507-4AC4-A1DD-E53C811A5592}"/>
          </ac:spMkLst>
        </pc:spChg>
        <pc:spChg chg="add del mod">
          <ac:chgData name="Juan Pablo Larrondo Petricio" userId="5d65fc26-8871-4c8b-989a-866f645caef6" providerId="ADAL" clId="{93B19B62-AAA3-4ECD-81DF-7FAE89281A1F}" dt="2019-06-06T15:14:53.619" v="819" actId="478"/>
          <ac:spMkLst>
            <pc:docMk/>
            <pc:sldMk cId="3211345518" sldId="284"/>
            <ac:spMk id="15" creationId="{6C84EC42-4ED3-4EAA-A05D-E04FAC37CB10}"/>
          </ac:spMkLst>
        </pc:spChg>
        <pc:spChg chg="add del mod">
          <ac:chgData name="Juan Pablo Larrondo Petricio" userId="5d65fc26-8871-4c8b-989a-866f645caef6" providerId="ADAL" clId="{93B19B62-AAA3-4ECD-81DF-7FAE89281A1F}" dt="2019-06-06T15:18:36.047" v="1004" actId="12788"/>
          <ac:spMkLst>
            <pc:docMk/>
            <pc:sldMk cId="3211345518" sldId="284"/>
            <ac:spMk id="34" creationId="{6A1EF08E-1783-4DB9-9001-BB430FAA2DB0}"/>
          </ac:spMkLst>
        </pc:spChg>
        <pc:spChg chg="mod">
          <ac:chgData name="Juan Pablo Larrondo Petricio" userId="5d65fc26-8871-4c8b-989a-866f645caef6" providerId="ADAL" clId="{93B19B62-AAA3-4ECD-81DF-7FAE89281A1F}" dt="2019-06-06T15:11:02.967" v="705" actId="1038"/>
          <ac:spMkLst>
            <pc:docMk/>
            <pc:sldMk cId="3211345518" sldId="284"/>
            <ac:spMk id="71" creationId="{64368B3A-33A3-4E09-9720-1229307E8590}"/>
          </ac:spMkLst>
        </pc:spChg>
        <pc:picChg chg="add mod">
          <ac:chgData name="Juan Pablo Larrondo Petricio" userId="5d65fc26-8871-4c8b-989a-866f645caef6" providerId="ADAL" clId="{93B19B62-AAA3-4ECD-81DF-7FAE89281A1F}" dt="2019-06-06T15:18:36.047" v="1004" actId="12788"/>
          <ac:picMkLst>
            <pc:docMk/>
            <pc:sldMk cId="3211345518" sldId="284"/>
            <ac:picMk id="10" creationId="{BC3FF711-2D5C-4BDA-9B5F-303F56E8D173}"/>
          </ac:picMkLst>
        </pc:picChg>
        <pc:cxnChg chg="add mod">
          <ac:chgData name="Juan Pablo Larrondo Petricio" userId="5d65fc26-8871-4c8b-989a-866f645caef6" providerId="ADAL" clId="{93B19B62-AAA3-4ECD-81DF-7FAE89281A1F}" dt="2019-06-06T15:18:19.041" v="996" actId="14100"/>
          <ac:cxnSpMkLst>
            <pc:docMk/>
            <pc:sldMk cId="3211345518" sldId="284"/>
            <ac:cxnSpMk id="3" creationId="{0F920A5A-9C4B-4B30-BD1A-1519A5BEA3B2}"/>
          </ac:cxnSpMkLst>
        </pc:cxnChg>
        <pc:cxnChg chg="add mod">
          <ac:chgData name="Juan Pablo Larrondo Petricio" userId="5d65fc26-8871-4c8b-989a-866f645caef6" providerId="ADAL" clId="{93B19B62-AAA3-4ECD-81DF-7FAE89281A1F}" dt="2019-06-06T15:18:38.918" v="1013" actId="1035"/>
          <ac:cxnSpMkLst>
            <pc:docMk/>
            <pc:sldMk cId="3211345518" sldId="284"/>
            <ac:cxnSpMk id="38" creationId="{A3B26C2A-CFAD-447B-9BE0-8DCFF2A448F5}"/>
          </ac:cxnSpMkLst>
        </pc:cxnChg>
      </pc:sldChg>
    </pc:docChg>
  </pc:docChgLst>
  <pc:docChgLst>
    <pc:chgData name="Juan Pablo Larrondo Petricio" userId="S::jplarrondo@student.ie.edu::5d65fc26-8871-4c8b-989a-866f645caef6" providerId="AD" clId="Web-{987431CE-20DA-EB2E-5FAA-D22817C4FCAF}"/>
    <pc:docChg chg="addSld">
      <pc:chgData name="Juan Pablo Larrondo Petricio" userId="S::jplarrondo@student.ie.edu::5d65fc26-8871-4c8b-989a-866f645caef6" providerId="AD" clId="Web-{987431CE-20DA-EB2E-5FAA-D22817C4FCAF}" dt="2019-06-03T12:47:36.667" v="0"/>
      <pc:docMkLst>
        <pc:docMk/>
      </pc:docMkLst>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218053927315354E-2"/>
          <c:y val="5.9414225941422594E-2"/>
          <c:w val="0.89654161781946062"/>
          <c:h val="0.88033472803347279"/>
        </c:manualLayout>
      </c:layout>
      <c:barChart>
        <c:barDir val="col"/>
        <c:grouping val="stacked"/>
        <c:varyColors val="0"/>
        <c:ser>
          <c:idx val="0"/>
          <c:order val="0"/>
          <c:spPr>
            <a:solidFill>
              <a:schemeClr val="accent2"/>
            </a:solidFill>
            <a:ln w="6350" algn="ctr">
              <a:solidFill>
                <a:schemeClr val="tx1"/>
              </a:solidFill>
              <a:prstDash val="solid"/>
            </a:ln>
          </c:spPr>
          <c:invertIfNegative val="0"/>
          <c:dLbls>
            <c:dLbl>
              <c:idx val="0"/>
              <c:layout>
                <c:manualLayout>
                  <c:x val="0"/>
                  <c:y val="-0.4309623430962343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E4-4B89-83C1-60C633911060}"/>
                </c:ext>
              </c:extLst>
            </c:dLbl>
            <c:dLbl>
              <c:idx val="2"/>
              <c:layout>
                <c:manualLayout>
                  <c:x val="0"/>
                  <c:y val="-0.21506276150627615"/>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E4-4B89-83C1-60C633911060}"/>
                </c:ext>
              </c:extLst>
            </c:dLbl>
            <c:dLbl>
              <c:idx val="3"/>
              <c:layout>
                <c:manualLayout>
                  <c:x val="0"/>
                  <c:y val="-0.15815899581589959"/>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E4-4B89-83C1-60C633911060}"/>
                </c:ext>
              </c:extLst>
            </c:dLbl>
            <c:dLbl>
              <c:idx val="5"/>
              <c:layout>
                <c:manualLayout>
                  <c:x val="0"/>
                  <c:y val="-0.120502092050209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E4-4B89-83C1-60C633911060}"/>
                </c:ext>
              </c:extLst>
            </c:dLbl>
            <c:dLbl>
              <c:idx val="6"/>
              <c:layout>
                <c:manualLayout>
                  <c:x val="0"/>
                  <c:y val="-0.10292887029288703"/>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AE4-4B89-83C1-60C633911060}"/>
                </c:ext>
              </c:extLst>
            </c:dLbl>
            <c:dLbl>
              <c:idx val="7"/>
              <c:layout>
                <c:manualLayout>
                  <c:x val="0"/>
                  <c:y val="-0.10125523012552301"/>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AE4-4B89-83C1-60C633911060}"/>
                </c:ext>
              </c:extLst>
            </c:dLbl>
            <c:dLbl>
              <c:idx val="8"/>
              <c:layout>
                <c:manualLayout>
                  <c:x val="0"/>
                  <c:y val="-8.117154811715481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AE4-4B89-83C1-60C633911060}"/>
                </c:ext>
              </c:extLst>
            </c:dLbl>
            <c:dLbl>
              <c:idx val="9"/>
              <c:layout>
                <c:manualLayout>
                  <c:x val="0"/>
                  <c:y val="-8.117154811715481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AE4-4B89-83C1-60C633911060}"/>
                </c:ext>
              </c:extLst>
            </c:dLbl>
            <c:dLbl>
              <c:idx val="10"/>
              <c:layout>
                <c:manualLayout>
                  <c:x val="0"/>
                  <c:y val="-7.8661087866108786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AE4-4B89-83C1-60C633911060}"/>
                </c:ext>
              </c:extLst>
            </c:dLbl>
            <c:dLbl>
              <c:idx val="11"/>
              <c:layout>
                <c:manualLayout>
                  <c:x val="0"/>
                  <c:y val="-7.4476987447698748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AE4-4B89-83C1-60C633911060}"/>
                </c:ext>
              </c:extLst>
            </c:dLbl>
            <c:dLbl>
              <c:idx val="12"/>
              <c:layout>
                <c:manualLayout>
                  <c:x val="0"/>
                  <c:y val="-7.2803347280334732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AE4-4B89-83C1-60C633911060}"/>
                </c:ext>
              </c:extLst>
            </c:dLbl>
            <c:dLbl>
              <c:idx val="13"/>
              <c:layout>
                <c:manualLayout>
                  <c:x val="0"/>
                  <c:y val="-7.0292887029288709E-2"/>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AE4-4B89-83C1-60C6339110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69</c:v>
                </c:pt>
                <c:pt idx="1">
                  <c:v>86</c:v>
                </c:pt>
                <c:pt idx="2">
                  <c:v>71</c:v>
                </c:pt>
                <c:pt idx="3">
                  <c:v>45</c:v>
                </c:pt>
                <c:pt idx="4">
                  <c:v>40</c:v>
                </c:pt>
                <c:pt idx="5">
                  <c:v>28</c:v>
                </c:pt>
                <c:pt idx="6">
                  <c:v>20</c:v>
                </c:pt>
                <c:pt idx="7">
                  <c:v>19</c:v>
                </c:pt>
                <c:pt idx="8">
                  <c:v>10</c:v>
                </c:pt>
                <c:pt idx="9">
                  <c:v>10</c:v>
                </c:pt>
                <c:pt idx="10">
                  <c:v>9</c:v>
                </c:pt>
                <c:pt idx="11">
                  <c:v>7</c:v>
                </c:pt>
                <c:pt idx="12">
                  <c:v>6</c:v>
                </c:pt>
                <c:pt idx="13">
                  <c:v>5</c:v>
                </c:pt>
              </c:numCache>
            </c:numRef>
          </c:val>
          <c:extLst>
            <c:ext xmlns:c16="http://schemas.microsoft.com/office/drawing/2014/chart" uri="{C3380CC4-5D6E-409C-BE32-E72D297353CC}">
              <c16:uniqueId val="{0000000C-7AE4-4B89-83C1-60C633911060}"/>
            </c:ext>
          </c:extLst>
        </c:ser>
        <c:dLbls>
          <c:showLegendKey val="0"/>
          <c:showVal val="0"/>
          <c:showCatName val="0"/>
          <c:showSerName val="0"/>
          <c:showPercent val="0"/>
          <c:showBubbleSize val="0"/>
        </c:dLbls>
        <c:gapWidth val="80"/>
        <c:overlap val="100"/>
        <c:axId val="1551526704"/>
        <c:axId val="1"/>
      </c:barChart>
      <c:catAx>
        <c:axId val="15515267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en-US"/>
          </a:p>
        </c:txPr>
        <c:crossAx val="1551526704"/>
        <c:crosses val="min"/>
        <c:crossBetween val="between"/>
        <c:majorUnit val="5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900172117039589E-2"/>
          <c:y val="3.3613445378151259E-2"/>
          <c:w val="0.96419965576592093"/>
          <c:h val="0.9327731092436975"/>
        </c:manualLayout>
      </c:layout>
      <c:areaChart>
        <c:grouping val="standard"/>
        <c:varyColors val="0"/>
        <c:ser>
          <c:idx val="0"/>
          <c:order val="0"/>
          <c:spPr>
            <a:solidFill>
              <a:schemeClr val="accent2"/>
            </a:solidFill>
            <a:ln w="3175" algn="ctr">
              <a:solidFill>
                <a:schemeClr val="tx1"/>
              </a:solidFill>
              <a:prstDash val="solid"/>
            </a:ln>
          </c:spPr>
          <c:val>
            <c:numRef>
              <c:f>Sheet1!$A$1:$Y$1</c:f>
              <c:numCache>
                <c:formatCode>General</c:formatCode>
                <c:ptCount val="25"/>
                <c:pt idx="0">
                  <c:v>0.48</c:v>
                </c:pt>
                <c:pt idx="1">
                  <c:v>0.21</c:v>
                </c:pt>
                <c:pt idx="2">
                  <c:v>0.3</c:v>
                </c:pt>
                <c:pt idx="3">
                  <c:v>0.21</c:v>
                </c:pt>
                <c:pt idx="4">
                  <c:v>0.16</c:v>
                </c:pt>
                <c:pt idx="5">
                  <c:v>0.09</c:v>
                </c:pt>
                <c:pt idx="6">
                  <c:v>0.18</c:v>
                </c:pt>
                <c:pt idx="7">
                  <c:v>0.15</c:v>
                </c:pt>
                <c:pt idx="8">
                  <c:v>0.12</c:v>
                </c:pt>
                <c:pt idx="9">
                  <c:v>0.13</c:v>
                </c:pt>
                <c:pt idx="10">
                  <c:v>0.13</c:v>
                </c:pt>
                <c:pt idx="11">
                  <c:v>0.1</c:v>
                </c:pt>
                <c:pt idx="12">
                  <c:v>0.11</c:v>
                </c:pt>
                <c:pt idx="13">
                  <c:v>0.13</c:v>
                </c:pt>
                <c:pt idx="14">
                  <c:v>0.12</c:v>
                </c:pt>
                <c:pt idx="15">
                  <c:v>0.1</c:v>
                </c:pt>
                <c:pt idx="16">
                  <c:v>0.12</c:v>
                </c:pt>
                <c:pt idx="17">
                  <c:v>7.0000000000000007E-2</c:v>
                </c:pt>
                <c:pt idx="18">
                  <c:v>0.05</c:v>
                </c:pt>
                <c:pt idx="19">
                  <c:v>0.06</c:v>
                </c:pt>
                <c:pt idx="20">
                  <c:v>0.06</c:v>
                </c:pt>
                <c:pt idx="21">
                  <c:v>3.5999999999999997E-2</c:v>
                </c:pt>
                <c:pt idx="22">
                  <c:v>0.04</c:v>
                </c:pt>
                <c:pt idx="23">
                  <c:v>3.5000000000000003E-2</c:v>
                </c:pt>
                <c:pt idx="24">
                  <c:v>0.04</c:v>
                </c:pt>
              </c:numCache>
            </c:numRef>
          </c:val>
          <c:extLst>
            <c:ext xmlns:c16="http://schemas.microsoft.com/office/drawing/2014/chart" uri="{C3380CC4-5D6E-409C-BE32-E72D297353CC}">
              <c16:uniqueId val="{00000000-7BEB-44F4-9398-49C38C134B28}"/>
            </c:ext>
          </c:extLst>
        </c:ser>
        <c:dLbls>
          <c:showLegendKey val="0"/>
          <c:showVal val="0"/>
          <c:showCatName val="0"/>
          <c:showSerName val="0"/>
          <c:showPercent val="0"/>
          <c:showBubbleSize val="0"/>
        </c:dLbls>
        <c:axId val="1551513104"/>
        <c:axId val="1"/>
      </c:areaChart>
      <c:catAx>
        <c:axId val="15515131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5"/>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200">
                <a:latin typeface="+mn-lt"/>
                <a:ea typeface="+mn-ea"/>
                <a:cs typeface="+mn-cs"/>
                <a:sym typeface="+mn-lt"/>
              </a:defRPr>
            </a:pPr>
            <a:endParaRPr lang="en-US"/>
          </a:p>
        </c:txPr>
        <c:crossAx val="1551513104"/>
        <c:crosses val="min"/>
        <c:crossBetween val="midCat"/>
        <c:majorUnit val="0.0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958693939258053"/>
          <c:y val="3.6541430777148741E-2"/>
          <c:w val="0.81688372420773459"/>
          <c:h val="0.92640247040658785"/>
        </c:manualLayout>
      </c:layout>
      <c:barChart>
        <c:barDir val="col"/>
        <c:grouping val="stacked"/>
        <c:varyColors val="0"/>
        <c:ser>
          <c:idx val="0"/>
          <c:order val="0"/>
          <c:spPr>
            <a:solidFill>
              <a:schemeClr val="bg2"/>
            </a:solidFill>
            <a:ln w="9525" algn="ctr">
              <a:solidFill>
                <a:schemeClr val="tx1"/>
              </a:solidFill>
              <a:prstDash val="solid"/>
            </a:ln>
          </c:spPr>
          <c:invertIfNegative val="0"/>
          <c:val>
            <c:numRef>
              <c:f>Sheet1!$A$1:$C$1</c:f>
              <c:numCache>
                <c:formatCode>General</c:formatCode>
                <c:ptCount val="3"/>
                <c:pt idx="0">
                  <c:v>2.2799999999999998</c:v>
                </c:pt>
                <c:pt idx="1">
                  <c:v>11.4</c:v>
                </c:pt>
                <c:pt idx="2">
                  <c:v>34.200000000000003</c:v>
                </c:pt>
              </c:numCache>
            </c:numRef>
          </c:val>
          <c:extLst>
            <c:ext xmlns:c16="http://schemas.microsoft.com/office/drawing/2014/chart" uri="{C3380CC4-5D6E-409C-BE32-E72D297353CC}">
              <c16:uniqueId val="{00000000-590A-4192-B1C7-1DA40C483765}"/>
            </c:ext>
          </c:extLst>
        </c:ser>
        <c:ser>
          <c:idx val="1"/>
          <c:order val="1"/>
          <c:spPr>
            <a:solidFill>
              <a:schemeClr val="accent1"/>
            </a:solidFill>
            <a:ln w="9525" algn="ctr">
              <a:solidFill>
                <a:schemeClr val="tx1"/>
              </a:solidFill>
              <a:prstDash val="solid"/>
            </a:ln>
          </c:spPr>
          <c:invertIfNegative val="0"/>
          <c:val>
            <c:numRef>
              <c:f>Sheet1!$A$2:$C$2</c:f>
              <c:numCache>
                <c:formatCode>General</c:formatCode>
                <c:ptCount val="3"/>
                <c:pt idx="0">
                  <c:v>0.12000000000000011</c:v>
                </c:pt>
                <c:pt idx="1">
                  <c:v>0.59999999999999964</c:v>
                </c:pt>
                <c:pt idx="2">
                  <c:v>1.7999999999999972</c:v>
                </c:pt>
              </c:numCache>
            </c:numRef>
          </c:val>
          <c:extLst>
            <c:ext xmlns:c16="http://schemas.microsoft.com/office/drawing/2014/chart" uri="{C3380CC4-5D6E-409C-BE32-E72D297353CC}">
              <c16:uniqueId val="{00000001-590A-4192-B1C7-1DA40C483765}"/>
            </c:ext>
          </c:extLst>
        </c:ser>
        <c:dLbls>
          <c:showLegendKey val="0"/>
          <c:showVal val="0"/>
          <c:showCatName val="0"/>
          <c:showSerName val="0"/>
          <c:showPercent val="0"/>
          <c:showBubbleSize val="0"/>
        </c:dLbls>
        <c:gapWidth val="80"/>
        <c:overlap val="100"/>
        <c:axId val="1641497904"/>
        <c:axId val="1"/>
      </c:barChart>
      <c:catAx>
        <c:axId val="16414979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title>
          <c:tx>
            <c:rich>
              <a:bodyPr/>
              <a:lstStyle/>
              <a:p>
                <a:pPr>
                  <a:defRPr/>
                </a:pPr>
                <a:r>
                  <a:rPr lang="en-GB" dirty="0"/>
                  <a:t>Spending [Billion USD]</a:t>
                </a:r>
              </a:p>
            </c:rich>
          </c:tx>
          <c:overlay val="0"/>
        </c:title>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en-US"/>
          </a:p>
        </c:txPr>
        <c:crossAx val="1641497904"/>
        <c:crosses val="min"/>
        <c:crossBetween val="between"/>
        <c:majorUnit val="5"/>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F74DD6-DFE3-4CAF-95D4-6F5972C3616A}" type="datetimeFigureOut">
              <a:rPr lang="en-US" smtClean="0"/>
              <a:t>6/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D21672-C019-4FDC-B8EF-7DCDF795C608}" type="slidenum">
              <a:rPr lang="en-US" smtClean="0"/>
              <a:t>‹#›</a:t>
            </a:fld>
            <a:endParaRPr lang="en-US"/>
          </a:p>
        </p:txBody>
      </p:sp>
    </p:spTree>
    <p:extLst>
      <p:ext uri="{BB962C8B-B14F-4D97-AF65-F5344CB8AC3E}">
        <p14:creationId xmlns:p14="http://schemas.microsoft.com/office/powerpoint/2010/main" val="786360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8" Type="http://schemas.openxmlformats.org/officeDocument/2006/relationships/hyperlink" Target="http://www.orissapost.com/protest-over-guards-death-hits-mining-operations/" TargetMode="External"/><Relationship Id="rId3" Type="http://schemas.openxmlformats.org/officeDocument/2006/relationships/hyperlink" Target="https://peoplesdispatch.org/2019/04/14/workers-stage-protest-against-coal-mine-deaths-in-pakistan/" TargetMode="External"/><Relationship Id="rId7" Type="http://schemas.openxmlformats.org/officeDocument/2006/relationships/hyperlink" Target="https://www.npr.org/2019/04/10/711361672/governor-and-his-family-owe-millions-in-mining-violations-despite-promises-to-pa?t=1559739322874"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fpl.org/mine-workers-sue-federal-regulators-over-controversial-mine-safety-decision/" TargetMode="External"/><Relationship Id="rId11" Type="http://schemas.openxmlformats.org/officeDocument/2006/relationships/hyperlink" Target="https://timesofindia.indiatimes.com/city/hyderabad/hyderabad-coal-workers-protest-as-miner-dies-in-mishap/articleshow/69664734.cms" TargetMode="External"/><Relationship Id="rId5" Type="http://schemas.openxmlformats.org/officeDocument/2006/relationships/hyperlink" Target="https://clb.org.hk/content/southwest-china-remains-blackspot-coal-mine-safety" TargetMode="External"/><Relationship Id="rId10" Type="http://schemas.openxmlformats.org/officeDocument/2006/relationships/hyperlink" Target="https://www.npr.org/2014/11/12/363058646/coal-mines-keep-operating-despite-injuries-violations-and-millions-in-fines?t=1559743593123" TargetMode="External"/><Relationship Id="rId4" Type="http://schemas.openxmlformats.org/officeDocument/2006/relationships/hyperlink" Target="https://www.safetyandhealthmagazine.com/articles/17925-msha-27-miners-died-last-year-second-fewest-on-record" TargetMode="External"/><Relationship Id="rId9" Type="http://schemas.openxmlformats.org/officeDocument/2006/relationships/hyperlink" Target="https://www.wkms.org/post/mine-safety-debt-wv-gov-justice-s-family-companies-grows-4m#stream/0"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tiohistorico.sernageomin.cl/pdf/mineria/estadisticas/accidentabilidad_Minera/BalanceNacionaldeAccidentabilidadMinerade2016.pdf"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canadianminingjournal.com/features/promises-pledges-and-kind-words-what-2019-budgets-say-to-miners/" TargetMode="External"/><Relationship Id="rId7" Type="http://schemas.openxmlformats.org/officeDocument/2006/relationships/hyperlink" Target="https://www.miningreview.com/top-stories/zero-harm-minerals-council/"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reuters.com/article/us-mining-conference-executives/rattled-by-vale-disaster-mining-ceos-move-to-change-industry-idUSKCN1QF2YV" TargetMode="External"/><Relationship Id="rId5" Type="http://schemas.openxmlformats.org/officeDocument/2006/relationships/hyperlink" Target="http://www.chinadaily.com.cn/a/201904/15/WS5cb3d8efa3104842260b6275.html" TargetMode="External"/><Relationship Id="rId4" Type="http://schemas.openxmlformats.org/officeDocument/2006/relationships/hyperlink" Target="https://www.iol.co.za/pretoria-news/mining-summit-emphasises-zero-harm-to-mineworkers-17615767"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peoplesdispatch.org/2019/04/14/workers-stage-protest-against-coal-mine-deaths-in-pakistan/</a:t>
            </a:r>
            <a:endParaRPr lang="en-US"/>
          </a:p>
          <a:p>
            <a:r>
              <a:rPr lang="en-US">
                <a:hlinkClick r:id="rId4"/>
              </a:rPr>
              <a:t>https://www.safetyandhealthmagazine.com/articles/17925-msha-27-miners-died-last-year-second-fewest-on-record</a:t>
            </a:r>
            <a:endParaRPr lang="en-US"/>
          </a:p>
          <a:p>
            <a:r>
              <a:rPr lang="en-US">
                <a:hlinkClick r:id="rId5"/>
              </a:rPr>
              <a:t>https://clb.org.hk/content/southwest-china-remains-blackspot-coal-mine-safety</a:t>
            </a:r>
            <a:endParaRPr lang="ru-RU"/>
          </a:p>
          <a:p>
            <a:r>
              <a:rPr lang="en-US">
                <a:hlinkClick r:id="rId6"/>
              </a:rPr>
              <a:t>https://wfpl.org/mine-workers-sue-federal-regulators-over-controversial-mine-safety-decision/</a:t>
            </a:r>
            <a:endParaRPr lang="en-US"/>
          </a:p>
          <a:p>
            <a:r>
              <a:rPr lang="en-US">
                <a:hlinkClick r:id="rId7"/>
              </a:rPr>
              <a:t>https://www.npr.org/2019/04/10/711361672/governor-and-his-family-owe-millions-in-mining-violations-despite-promises-to-pa?t=1559739322874</a:t>
            </a:r>
          </a:p>
          <a:p>
            <a:r>
              <a:rPr lang="en-US">
                <a:hlinkClick r:id="rId8"/>
              </a:rPr>
              <a:t>http://www.orissapost.com/protest-over-guards-death-hits-mining-operations/</a:t>
            </a:r>
          </a:p>
          <a:p>
            <a:r>
              <a:rPr lang="en-US">
                <a:hlinkClick r:id="rId9"/>
              </a:rPr>
              <a:t>https://www.wkms.org/post/mine-safety-debt-wv-gov-justice-s-family-companies-grows-4m#stream/0</a:t>
            </a:r>
          </a:p>
          <a:p>
            <a:r>
              <a:rPr lang="en-US">
                <a:hlinkClick r:id="rId10"/>
              </a:rPr>
              <a:t>https://www.npr.org/2014/11/12/363058646/coal-mines-keep-operating-despite-injuries-violations-and-millions-in-fines?t=1559743593123</a:t>
            </a:r>
          </a:p>
          <a:p>
            <a:r>
              <a:rPr lang="en-US">
                <a:hlinkClick r:id="rId11"/>
              </a:rPr>
              <a:t>https://timesofindia.indiatimes.com/city/hyderabad/hyderabad-coal-workers-protest-as-miner-dies-in-mishap/articleshow/69664734.cms</a:t>
            </a:r>
            <a:endParaRPr lang="en-US"/>
          </a:p>
        </p:txBody>
      </p:sp>
      <p:sp>
        <p:nvSpPr>
          <p:cNvPr id="4" name="Slide Number Placeholder 3"/>
          <p:cNvSpPr>
            <a:spLocks noGrp="1"/>
          </p:cNvSpPr>
          <p:nvPr>
            <p:ph type="sldNum" sz="quarter" idx="5"/>
          </p:nvPr>
        </p:nvSpPr>
        <p:spPr/>
        <p:txBody>
          <a:bodyPr/>
          <a:lstStyle/>
          <a:p>
            <a:fld id="{B1D21672-C019-4FDC-B8EF-7DCDF795C608}" type="slidenum">
              <a:rPr lang="en-US" smtClean="0"/>
              <a:t>2</a:t>
            </a:fld>
            <a:endParaRPr lang="en-US"/>
          </a:p>
        </p:txBody>
      </p:sp>
    </p:spTree>
    <p:extLst>
      <p:ext uri="{BB962C8B-B14F-4D97-AF65-F5344CB8AC3E}">
        <p14:creationId xmlns:p14="http://schemas.microsoft.com/office/powerpoint/2010/main" val="2765656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itiohistorico.sernageomin.cl/pdf/mineria/estadisticas/accidentabilidad_Minera/BalanceNacionaldeAccidentabilidadMinerade2016.pdf</a:t>
            </a:r>
            <a:endParaRPr lang="en-US" sz="1200" dirty="0"/>
          </a:p>
          <a:p>
            <a:endParaRPr lang="en-GB" dirty="0"/>
          </a:p>
        </p:txBody>
      </p:sp>
      <p:sp>
        <p:nvSpPr>
          <p:cNvPr id="4" name="Slide Number Placeholder 3"/>
          <p:cNvSpPr>
            <a:spLocks noGrp="1"/>
          </p:cNvSpPr>
          <p:nvPr>
            <p:ph type="sldNum" sz="quarter" idx="5"/>
          </p:nvPr>
        </p:nvSpPr>
        <p:spPr/>
        <p:txBody>
          <a:bodyPr/>
          <a:lstStyle/>
          <a:p>
            <a:fld id="{B1D21672-C019-4FDC-B8EF-7DCDF795C608}" type="slidenum">
              <a:rPr lang="en-US" smtClean="0"/>
              <a:t>3</a:t>
            </a:fld>
            <a:endParaRPr lang="en-US"/>
          </a:p>
        </p:txBody>
      </p:sp>
    </p:spTree>
    <p:extLst>
      <p:ext uri="{BB962C8B-B14F-4D97-AF65-F5344CB8AC3E}">
        <p14:creationId xmlns:p14="http://schemas.microsoft.com/office/powerpoint/2010/main" val="731580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hlinkClick r:id="rId3"/>
              </a:rPr>
              <a:t>ttp://www.canadianminingjournal.com/features/promises-pledges-and-kind-words-what-2019-budgets-say-to-miners/</a:t>
            </a:r>
            <a:endParaRPr lang="en-GB" dirty="0"/>
          </a:p>
          <a:p>
            <a:r>
              <a:rPr lang="en-GB" dirty="0">
                <a:hlinkClick r:id="rId4"/>
              </a:rPr>
              <a:t>https://www.iol.co.za/pretoria-news/mining-summit-emphasises-zero-harm-to-mineworkers-17615767</a:t>
            </a:r>
            <a:endParaRPr lang="en-US" dirty="0"/>
          </a:p>
          <a:p>
            <a:r>
              <a:rPr lang="en-US" dirty="0">
                <a:hlinkClick r:id="rId5"/>
              </a:rPr>
              <a:t>http://www.chinadaily.com.cn/a/201904/15/WS5cb3d8efa3104842260b6275.html</a:t>
            </a:r>
            <a:endParaRPr lang="ru-RU" dirty="0"/>
          </a:p>
          <a:p>
            <a:r>
              <a:rPr lang="en-GB" dirty="0">
                <a:hlinkClick r:id="rId6"/>
              </a:rPr>
              <a:t>https://www.reuters.com/article/us-mining-conference-executives/rattled-by-vale-disaster-mining-ceos-move-to-change-industry-idUSKCN1QF2YV</a:t>
            </a:r>
            <a:endParaRPr lang="en-US" dirty="0"/>
          </a:p>
          <a:p>
            <a:r>
              <a:rPr lang="en-GB" dirty="0">
                <a:hlinkClick r:id="rId7"/>
              </a:rPr>
              <a:t>https://www.miningreview.com/top-stories/zero-harm-minerals-council/</a:t>
            </a:r>
            <a:endParaRPr lang="en-GB" dirty="0"/>
          </a:p>
          <a:p>
            <a:endParaRPr lang="en-US" dirty="0">
              <a:cs typeface="Calibri"/>
            </a:endParaRPr>
          </a:p>
        </p:txBody>
      </p:sp>
      <p:sp>
        <p:nvSpPr>
          <p:cNvPr id="4" name="Slide Number Placeholder 3"/>
          <p:cNvSpPr>
            <a:spLocks noGrp="1"/>
          </p:cNvSpPr>
          <p:nvPr>
            <p:ph type="sldNum" sz="quarter" idx="5"/>
          </p:nvPr>
        </p:nvSpPr>
        <p:spPr/>
        <p:txBody>
          <a:bodyPr/>
          <a:lstStyle/>
          <a:p>
            <a:fld id="{B1D21672-C019-4FDC-B8EF-7DCDF795C608}" type="slidenum">
              <a:rPr lang="en-US" smtClean="0"/>
              <a:t>4</a:t>
            </a:fld>
            <a:endParaRPr lang="en-US"/>
          </a:p>
        </p:txBody>
      </p:sp>
    </p:spTree>
    <p:extLst>
      <p:ext uri="{BB962C8B-B14F-4D97-AF65-F5344CB8AC3E}">
        <p14:creationId xmlns:p14="http://schemas.microsoft.com/office/powerpoint/2010/main" val="3095692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BE77267-9F51-4226-989C-ED57465596ED}"/>
              </a:ext>
            </a:extLst>
          </p:cNvPr>
          <p:cNvSpPr/>
          <p:nvPr/>
        </p:nvSpPr>
        <p:spPr>
          <a:xfrm>
            <a:off x="0" y="6714000"/>
            <a:ext cx="12192000" cy="1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Rectangle 7">
            <a:extLst>
              <a:ext uri="{FF2B5EF4-FFF2-40B4-BE49-F238E27FC236}">
                <a16:creationId xmlns:a16="http://schemas.microsoft.com/office/drawing/2014/main" id="{0A2CC678-341F-44F8-AE2E-A6C84D75C56A}"/>
              </a:ext>
            </a:extLst>
          </p:cNvPr>
          <p:cNvSpPr/>
          <p:nvPr/>
        </p:nvSpPr>
        <p:spPr>
          <a:xfrm>
            <a:off x="0" y="0"/>
            <a:ext cx="12192000" cy="1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Rectangle 10">
            <a:extLst>
              <a:ext uri="{FF2B5EF4-FFF2-40B4-BE49-F238E27FC236}">
                <a16:creationId xmlns:a16="http://schemas.microsoft.com/office/drawing/2014/main" id="{A87A001A-FE8B-41CE-AC81-69D4A2339087}"/>
              </a:ext>
            </a:extLst>
          </p:cNvPr>
          <p:cNvSpPr/>
          <p:nvPr/>
        </p:nvSpPr>
        <p:spPr>
          <a:xfrm>
            <a:off x="0" y="92074"/>
            <a:ext cx="144000" cy="6629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Rectangle 11">
            <a:extLst>
              <a:ext uri="{FF2B5EF4-FFF2-40B4-BE49-F238E27FC236}">
                <a16:creationId xmlns:a16="http://schemas.microsoft.com/office/drawing/2014/main" id="{CB1416AC-94BD-4442-B771-E1ACAA70367E}"/>
              </a:ext>
            </a:extLst>
          </p:cNvPr>
          <p:cNvSpPr/>
          <p:nvPr/>
        </p:nvSpPr>
        <p:spPr>
          <a:xfrm>
            <a:off x="12048000" y="92074"/>
            <a:ext cx="144000" cy="6629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Freeform: Shape 12">
            <a:extLst>
              <a:ext uri="{FF2B5EF4-FFF2-40B4-BE49-F238E27FC236}">
                <a16:creationId xmlns:a16="http://schemas.microsoft.com/office/drawing/2014/main" id="{BDB31DC4-A207-4A23-8E7A-40D0ECD04FDD}"/>
              </a:ext>
            </a:extLst>
          </p:cNvPr>
          <p:cNvSpPr/>
          <p:nvPr/>
        </p:nvSpPr>
        <p:spPr>
          <a:xfrm>
            <a:off x="0" y="0"/>
            <a:ext cx="12192000" cy="6858000"/>
          </a:xfrm>
          <a:custGeom>
            <a:avLst/>
            <a:gdLst>
              <a:gd name="connsiteX0" fmla="*/ 36000 w 12192000"/>
              <a:gd name="connsiteY0" fmla="*/ 36000 h 6858000"/>
              <a:gd name="connsiteX1" fmla="*/ 36000 w 12192000"/>
              <a:gd name="connsiteY1" fmla="*/ 6822000 h 6858000"/>
              <a:gd name="connsiteX2" fmla="*/ 12156000 w 12192000"/>
              <a:gd name="connsiteY2" fmla="*/ 6822000 h 6858000"/>
              <a:gd name="connsiteX3" fmla="*/ 12156000 w 12192000"/>
              <a:gd name="connsiteY3" fmla="*/ 36000 h 6858000"/>
              <a:gd name="connsiteX4" fmla="*/ 0 w 12192000"/>
              <a:gd name="connsiteY4" fmla="*/ 0 h 6858000"/>
              <a:gd name="connsiteX5" fmla="*/ 36000 w 12192000"/>
              <a:gd name="connsiteY5" fmla="*/ 0 h 6858000"/>
              <a:gd name="connsiteX6" fmla="*/ 12156000 w 12192000"/>
              <a:gd name="connsiteY6" fmla="*/ 0 h 6858000"/>
              <a:gd name="connsiteX7" fmla="*/ 12192000 w 12192000"/>
              <a:gd name="connsiteY7" fmla="*/ 0 h 6858000"/>
              <a:gd name="connsiteX8" fmla="*/ 12192000 w 12192000"/>
              <a:gd name="connsiteY8" fmla="*/ 36000 h 6858000"/>
              <a:gd name="connsiteX9" fmla="*/ 12192000 w 12192000"/>
              <a:gd name="connsiteY9" fmla="*/ 6822000 h 6858000"/>
              <a:gd name="connsiteX10" fmla="*/ 12192000 w 12192000"/>
              <a:gd name="connsiteY10" fmla="*/ 6858000 h 6858000"/>
              <a:gd name="connsiteX11" fmla="*/ 12156000 w 12192000"/>
              <a:gd name="connsiteY11" fmla="*/ 6858000 h 6858000"/>
              <a:gd name="connsiteX12" fmla="*/ 36000 w 12192000"/>
              <a:gd name="connsiteY12" fmla="*/ 6858000 h 6858000"/>
              <a:gd name="connsiteX13" fmla="*/ 0 w 12192000"/>
              <a:gd name="connsiteY13" fmla="*/ 6858000 h 6858000"/>
              <a:gd name="connsiteX14" fmla="*/ 0 w 12192000"/>
              <a:gd name="connsiteY14" fmla="*/ 6822000 h 6858000"/>
              <a:gd name="connsiteX15" fmla="*/ 0 w 12192000"/>
              <a:gd name="connsiteY15" fmla="*/ 3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36000" y="36000"/>
                </a:moveTo>
                <a:lnTo>
                  <a:pt x="36000" y="6822000"/>
                </a:lnTo>
                <a:lnTo>
                  <a:pt x="12156000" y="6822000"/>
                </a:lnTo>
                <a:lnTo>
                  <a:pt x="12156000" y="36000"/>
                </a:lnTo>
                <a:close/>
                <a:moveTo>
                  <a:pt x="0" y="0"/>
                </a:moveTo>
                <a:lnTo>
                  <a:pt x="36000" y="0"/>
                </a:lnTo>
                <a:lnTo>
                  <a:pt x="12156000" y="0"/>
                </a:lnTo>
                <a:lnTo>
                  <a:pt x="12192000" y="0"/>
                </a:lnTo>
                <a:lnTo>
                  <a:pt x="12192000" y="36000"/>
                </a:lnTo>
                <a:lnTo>
                  <a:pt x="12192000" y="6822000"/>
                </a:lnTo>
                <a:lnTo>
                  <a:pt x="12192000" y="6858000"/>
                </a:lnTo>
                <a:lnTo>
                  <a:pt x="12156000" y="6858000"/>
                </a:lnTo>
                <a:lnTo>
                  <a:pt x="36000" y="6858000"/>
                </a:lnTo>
                <a:lnTo>
                  <a:pt x="0" y="6858000"/>
                </a:lnTo>
                <a:lnTo>
                  <a:pt x="0" y="6822000"/>
                </a:lnTo>
                <a:lnTo>
                  <a:pt x="0" y="3600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9" name="Picture Placeholder 1">
            <a:extLst>
              <a:ext uri="{FF2B5EF4-FFF2-40B4-BE49-F238E27FC236}">
                <a16:creationId xmlns:a16="http://schemas.microsoft.com/office/drawing/2014/main" id="{837F9836-5B23-424D-8C60-AC02A8512A4B}"/>
              </a:ext>
            </a:extLst>
          </p:cNvPr>
          <p:cNvSpPr>
            <a:spLocks noGrp="1"/>
          </p:cNvSpPr>
          <p:nvPr>
            <p:ph type="pic" sz="quarter" idx="13" hasCustomPrompt="1"/>
          </p:nvPr>
        </p:nvSpPr>
        <p:spPr>
          <a:xfrm>
            <a:off x="144000" y="144000"/>
            <a:ext cx="11905200" cy="6570000"/>
          </a:xfrm>
          <a:solidFill>
            <a:schemeClr val="bg1">
              <a:lumMod val="95000"/>
            </a:schemeClr>
          </a:solidFill>
        </p:spPr>
        <p:txBody>
          <a:bodyPr lIns="0" rIns="1764000" anchor="ctr"/>
          <a:lstStyle>
            <a:lvl1pPr marL="0" indent="0" algn="r">
              <a:buNone/>
              <a:defRPr sz="1200" i="1">
                <a:latin typeface="Times New Roman" panose="02020603050405020304" pitchFamily="18" charset="0"/>
                <a:cs typeface="Times New Roman" panose="02020603050405020304" pitchFamily="18" charset="0"/>
              </a:defRPr>
            </a:lvl1pPr>
          </a:lstStyle>
          <a:p>
            <a:r>
              <a:rPr lang="en-US" noProof="0" dirty="0"/>
              <a:t>Insert or Drag &amp; Drop your photo</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360000" y="359999"/>
            <a:ext cx="4416588" cy="5321927"/>
          </a:xfrm>
          <a:gradFill>
            <a:gsLst>
              <a:gs pos="46000">
                <a:schemeClr val="bg1">
                  <a:alpha val="90000"/>
                </a:schemeClr>
              </a:gs>
              <a:gs pos="0">
                <a:schemeClr val="accent1">
                  <a:lumMod val="20000"/>
                  <a:lumOff val="80000"/>
                  <a:alpha val="50000"/>
                </a:schemeClr>
              </a:gs>
              <a:gs pos="80000">
                <a:schemeClr val="bg1"/>
              </a:gs>
            </a:gsLst>
            <a:lin ang="3600000" scaled="0"/>
          </a:gradFill>
        </p:spPr>
        <p:txBody>
          <a:bodyPr lIns="72000" rIns="180000" bIns="180000" anchor="b"/>
          <a:lstStyle>
            <a:lvl1pPr algn="r">
              <a:lnSpc>
                <a:spcPts val="4700"/>
              </a:lnSpc>
              <a:defRPr sz="4500">
                <a:solidFill>
                  <a:schemeClr val="tx1"/>
                </a:solidFill>
              </a:defRPr>
            </a:lvl1pPr>
          </a:lstStyle>
          <a:p>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359999" y="5681926"/>
            <a:ext cx="4416587" cy="816075"/>
          </a:xfrm>
          <a:solidFill>
            <a:schemeClr val="bg1">
              <a:alpha val="80000"/>
            </a:schemeClr>
          </a:solidFill>
          <a:ln w="3175">
            <a:gradFill>
              <a:gsLst>
                <a:gs pos="0">
                  <a:schemeClr val="bg1"/>
                </a:gs>
                <a:gs pos="100000">
                  <a:schemeClr val="accent1"/>
                </a:gs>
              </a:gsLst>
              <a:lin ang="0" scaled="0"/>
            </a:gradFill>
          </a:ln>
        </p:spPr>
        <p:txBody>
          <a:bodyPr tIns="144000" rIns="180000"/>
          <a:lstStyle>
            <a:lvl1pPr marL="0" indent="0" algn="r">
              <a:buNone/>
              <a:defRPr sz="18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0" name="Rectangle 9">
            <a:extLst>
              <a:ext uri="{FF2B5EF4-FFF2-40B4-BE49-F238E27FC236}">
                <a16:creationId xmlns:a16="http://schemas.microsoft.com/office/drawing/2014/main" id="{86BCA65B-A3AB-4333-8D7B-83C74FA48498}"/>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28834029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779100" y="804500"/>
            <a:ext cx="4416588" cy="3818712"/>
          </a:xfrm>
          <a:gradFill>
            <a:gsLst>
              <a:gs pos="46000">
                <a:schemeClr val="bg1">
                  <a:alpha val="90000"/>
                </a:schemeClr>
              </a:gs>
              <a:gs pos="0">
                <a:schemeClr val="accent1">
                  <a:lumMod val="20000"/>
                  <a:lumOff val="80000"/>
                  <a:alpha val="50000"/>
                </a:schemeClr>
              </a:gs>
              <a:gs pos="80000">
                <a:schemeClr val="bg1"/>
              </a:gs>
            </a:gsLst>
            <a:lin ang="3600000" scaled="0"/>
          </a:gradFill>
        </p:spPr>
        <p:txBody>
          <a:bodyPr lIns="72000" rIns="180000" bIns="180000" anchor="b"/>
          <a:lstStyle>
            <a:lvl1pPr algn="r">
              <a:lnSpc>
                <a:spcPts val="4700"/>
              </a:lnSpc>
              <a:defRPr sz="4500">
                <a:solidFill>
                  <a:schemeClr val="tx1"/>
                </a:solidFill>
              </a:defRPr>
            </a:lvl1pPr>
          </a:lstStyle>
          <a:p>
            <a:r>
              <a:rPr lang="en-US" noProof="0"/>
              <a:t>Click to edit segue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779099" y="4623212"/>
            <a:ext cx="4416587" cy="816075"/>
          </a:xfrm>
          <a:solidFill>
            <a:schemeClr val="bg1">
              <a:alpha val="80000"/>
            </a:schemeClr>
          </a:solidFill>
          <a:ln>
            <a:gradFill>
              <a:gsLst>
                <a:gs pos="0">
                  <a:schemeClr val="bg1">
                    <a:lumMod val="75000"/>
                  </a:schemeClr>
                </a:gs>
                <a:gs pos="100000">
                  <a:schemeClr val="accent1"/>
                </a:gs>
              </a:gsLst>
              <a:lin ang="0" scaled="0"/>
            </a:gradFill>
          </a:ln>
        </p:spPr>
        <p:txBody>
          <a:bodyPr tIns="144000" rIns="180000"/>
          <a:lstStyle>
            <a:lvl1pPr marL="0" indent="0" algn="r">
              <a:buNone/>
              <a:defRPr sz="18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Footer Placeholder 4">
            <a:extLst>
              <a:ext uri="{FF2B5EF4-FFF2-40B4-BE49-F238E27FC236}">
                <a16:creationId xmlns:a16="http://schemas.microsoft.com/office/drawing/2014/main" id="{0CB24018-690B-4552-9994-3F090E16014A}"/>
              </a:ext>
            </a:extLst>
          </p:cNvPr>
          <p:cNvSpPr>
            <a:spLocks noGrp="1"/>
          </p:cNvSpPr>
          <p:nvPr>
            <p:ph type="ftr" sz="quarter" idx="12"/>
          </p:nvPr>
        </p:nvSpPr>
        <p:spPr/>
        <p:txBody>
          <a:bodyPr/>
          <a:lstStyle/>
          <a:p>
            <a:endParaRPr lang="en-US"/>
          </a:p>
        </p:txBody>
      </p:sp>
      <p:sp>
        <p:nvSpPr>
          <p:cNvPr id="10" name="Slide Number Placeholder 9">
            <a:extLst>
              <a:ext uri="{FF2B5EF4-FFF2-40B4-BE49-F238E27FC236}">
                <a16:creationId xmlns:a16="http://schemas.microsoft.com/office/drawing/2014/main" id="{4D8B2323-066D-4AC1-9FC8-A06D7E8B5818}"/>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6" name="Rectangle 5">
            <a:extLst>
              <a:ext uri="{FF2B5EF4-FFF2-40B4-BE49-F238E27FC236}">
                <a16:creationId xmlns:a16="http://schemas.microsoft.com/office/drawing/2014/main" id="{5A33AEE3-49C5-4E40-BF62-8B50AFB94CA6}"/>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25641291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p:txBody>
          <a:bodyPr/>
          <a:lstStyle/>
          <a:p>
            <a:endParaRPr lang="en-US"/>
          </a:p>
        </p:txBody>
      </p:sp>
      <p:sp>
        <p:nvSpPr>
          <p:cNvPr id="5" name="Slide Number Placeholder 4">
            <a:extLst>
              <a:ext uri="{FF2B5EF4-FFF2-40B4-BE49-F238E27FC236}">
                <a16:creationId xmlns:a16="http://schemas.microsoft.com/office/drawing/2014/main" id="{7456F629-658F-4B7E-A1D1-2522EA76B0DD}"/>
              </a:ext>
            </a:extLst>
          </p:cNvPr>
          <p:cNvSpPr>
            <a:spLocks noGrp="1"/>
          </p:cNvSpPr>
          <p:nvPr>
            <p:ph type="sldNum" sz="quarter" idx="33"/>
          </p:nvPr>
        </p:nvSpPr>
        <p:spPr/>
        <p:txBody>
          <a:bodyPr/>
          <a:lstStyle/>
          <a:p>
            <a:fld id="{330EA680-D336-4FF7-8B7A-9848BB0A1C32}" type="slidenum">
              <a:rPr lang="en-US" smtClean="0"/>
              <a:t>‹#›</a:t>
            </a:fld>
            <a:endParaRPr lang="en-US"/>
          </a:p>
        </p:txBody>
      </p:sp>
      <p:sp>
        <p:nvSpPr>
          <p:cNvPr id="6" name="Title 5">
            <a:extLst>
              <a:ext uri="{FF2B5EF4-FFF2-40B4-BE49-F238E27FC236}">
                <a16:creationId xmlns:a16="http://schemas.microsoft.com/office/drawing/2014/main" id="{35380A33-49FB-43FC-B60E-34A2E555638E}"/>
              </a:ext>
            </a:extLst>
          </p:cNvPr>
          <p:cNvSpPr>
            <a:spLocks noGrp="1"/>
          </p:cNvSpPr>
          <p:nvPr>
            <p:ph type="title"/>
          </p:nvPr>
        </p:nvSpPr>
        <p:spPr/>
        <p:txBody>
          <a:bodyPr/>
          <a:lstStyle/>
          <a:p>
            <a:r>
              <a:rPr lang="en-US" noProof="0"/>
              <a:t>Click to edit Master title style</a:t>
            </a:r>
          </a:p>
        </p:txBody>
      </p:sp>
      <p:sp>
        <p:nvSpPr>
          <p:cNvPr id="8" name="Rectangle 7">
            <a:extLst>
              <a:ext uri="{FF2B5EF4-FFF2-40B4-BE49-F238E27FC236}">
                <a16:creationId xmlns:a16="http://schemas.microsoft.com/office/drawing/2014/main" id="{43D71BC8-B96F-4A4B-B5E3-6D973C31F137}"/>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11" name="Rectangle 10">
            <a:extLst>
              <a:ext uri="{FF2B5EF4-FFF2-40B4-BE49-F238E27FC236}">
                <a16:creationId xmlns:a16="http://schemas.microsoft.com/office/drawing/2014/main" id="{70E45F96-02AD-4D51-8D3A-D7E1BF5EF355}"/>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8430428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endParaRPr lang="en-US"/>
          </a:p>
        </p:txBody>
      </p:sp>
      <p:sp>
        <p:nvSpPr>
          <p:cNvPr id="5" name="Slide Number Placeholder 4">
            <a:extLst>
              <a:ext uri="{FF2B5EF4-FFF2-40B4-BE49-F238E27FC236}">
                <a16:creationId xmlns:a16="http://schemas.microsoft.com/office/drawing/2014/main" id="{FF449EF3-C757-4F43-906C-DE0FF6262B2F}"/>
              </a:ext>
            </a:extLst>
          </p:cNvPr>
          <p:cNvSpPr>
            <a:spLocks noGrp="1"/>
          </p:cNvSpPr>
          <p:nvPr>
            <p:ph type="sldNum" sz="quarter" idx="33"/>
          </p:nvPr>
        </p:nvSpPr>
        <p:spPr/>
        <p:txBody>
          <a:bodyPr/>
          <a:lstStyle/>
          <a:p>
            <a:fld id="{330EA680-D336-4FF7-8B7A-9848BB0A1C32}" type="slidenum">
              <a:rPr lang="en-US" smtClean="0"/>
              <a:t>‹#›</a:t>
            </a:fld>
            <a:endParaRPr lang="en-US"/>
          </a:p>
        </p:txBody>
      </p:sp>
      <p:sp>
        <p:nvSpPr>
          <p:cNvPr id="8" name="Title 7">
            <a:extLst>
              <a:ext uri="{FF2B5EF4-FFF2-40B4-BE49-F238E27FC236}">
                <a16:creationId xmlns:a16="http://schemas.microsoft.com/office/drawing/2014/main" id="{216924A5-8BD5-4AC6-84B9-2F1A4AFCF252}"/>
              </a:ext>
            </a:extLst>
          </p:cNvPr>
          <p:cNvSpPr>
            <a:spLocks noGrp="1"/>
          </p:cNvSpPr>
          <p:nvPr>
            <p:ph type="title"/>
          </p:nvPr>
        </p:nvSpPr>
        <p:spPr/>
        <p:txBody>
          <a:bodyPr/>
          <a:lstStyle/>
          <a:p>
            <a:r>
              <a:rPr lang="en-US" noProof="0"/>
              <a:t>Click to edit Master title style</a:t>
            </a:r>
          </a:p>
        </p:txBody>
      </p:sp>
      <p:sp>
        <p:nvSpPr>
          <p:cNvPr id="10" name="Content Placeholder 3">
            <a:extLst>
              <a:ext uri="{FF2B5EF4-FFF2-40B4-BE49-F238E27FC236}">
                <a16:creationId xmlns:a16="http://schemas.microsoft.com/office/drawing/2014/main" id="{4C657649-400B-459D-918F-D5C58351DEF3}"/>
              </a:ext>
            </a:extLst>
          </p:cNvPr>
          <p:cNvSpPr>
            <a:spLocks noGrp="1"/>
          </p:cNvSpPr>
          <p:nvPr>
            <p:ph sz="half" idx="2"/>
          </p:nvPr>
        </p:nvSpPr>
        <p:spPr>
          <a:xfrm>
            <a:off x="6299886" y="1512000"/>
            <a:ext cx="5472114" cy="46649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F923135C-68B1-4D2B-80D0-318CB859F73B}"/>
              </a:ext>
            </a:extLst>
          </p:cNvPr>
          <p:cNvSpPr>
            <a:spLocks noGrp="1"/>
          </p:cNvSpPr>
          <p:nvPr>
            <p:ph sz="half" idx="1"/>
          </p:nvPr>
        </p:nvSpPr>
        <p:spPr>
          <a:xfrm>
            <a:off x="431886" y="1512000"/>
            <a:ext cx="5472114" cy="466496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Rectangle 6">
            <a:extLst>
              <a:ext uri="{FF2B5EF4-FFF2-40B4-BE49-F238E27FC236}">
                <a16:creationId xmlns:a16="http://schemas.microsoft.com/office/drawing/2014/main" id="{FA57DB88-86BE-462F-9ABA-6EAF88A5FB4A}"/>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9" name="Rectangle 8">
            <a:extLst>
              <a:ext uri="{FF2B5EF4-FFF2-40B4-BE49-F238E27FC236}">
                <a16:creationId xmlns:a16="http://schemas.microsoft.com/office/drawing/2014/main" id="{89163B89-FB34-44F7-BD92-49F370BCA307}"/>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719619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endParaRPr lang="en-US"/>
          </a:p>
        </p:txBody>
      </p:sp>
      <p:sp>
        <p:nvSpPr>
          <p:cNvPr id="5" name="Slide Number Placeholder 4">
            <a:extLst>
              <a:ext uri="{FF2B5EF4-FFF2-40B4-BE49-F238E27FC236}">
                <a16:creationId xmlns:a16="http://schemas.microsoft.com/office/drawing/2014/main" id="{FF449EF3-C757-4F43-906C-DE0FF6262B2F}"/>
              </a:ext>
            </a:extLst>
          </p:cNvPr>
          <p:cNvSpPr>
            <a:spLocks noGrp="1"/>
          </p:cNvSpPr>
          <p:nvPr>
            <p:ph type="sldNum" sz="quarter" idx="33"/>
          </p:nvPr>
        </p:nvSpPr>
        <p:spPr/>
        <p:txBody>
          <a:bodyPr/>
          <a:lstStyle/>
          <a:p>
            <a:fld id="{330EA680-D336-4FF7-8B7A-9848BB0A1C32}" type="slidenum">
              <a:rPr lang="en-US" smtClean="0"/>
              <a:t>‹#›</a:t>
            </a:fld>
            <a:endParaRPr lang="en-US"/>
          </a:p>
        </p:txBody>
      </p:sp>
      <p:sp>
        <p:nvSpPr>
          <p:cNvPr id="8" name="Title 7">
            <a:extLst>
              <a:ext uri="{FF2B5EF4-FFF2-40B4-BE49-F238E27FC236}">
                <a16:creationId xmlns:a16="http://schemas.microsoft.com/office/drawing/2014/main" id="{216924A5-8BD5-4AC6-84B9-2F1A4AFCF252}"/>
              </a:ext>
            </a:extLst>
          </p:cNvPr>
          <p:cNvSpPr>
            <a:spLocks noGrp="1"/>
          </p:cNvSpPr>
          <p:nvPr>
            <p:ph type="title"/>
          </p:nvPr>
        </p:nvSpPr>
        <p:spPr/>
        <p:txBody>
          <a:bodyPr/>
          <a:lstStyle/>
          <a:p>
            <a:r>
              <a:rPr lang="en-US" noProof="0"/>
              <a:t>Click to edit Master title style</a:t>
            </a:r>
          </a:p>
        </p:txBody>
      </p:sp>
      <p:sp>
        <p:nvSpPr>
          <p:cNvPr id="7" name="Text Placeholder 2">
            <a:extLst>
              <a:ext uri="{FF2B5EF4-FFF2-40B4-BE49-F238E27FC236}">
                <a16:creationId xmlns:a16="http://schemas.microsoft.com/office/drawing/2014/main" id="{6BF39E7D-3145-466A-B07A-D49E661CEFAA}"/>
              </a:ext>
            </a:extLst>
          </p:cNvPr>
          <p:cNvSpPr>
            <a:spLocks noGrp="1"/>
          </p:cNvSpPr>
          <p:nvPr>
            <p:ph type="body" idx="1"/>
          </p:nvPr>
        </p:nvSpPr>
        <p:spPr>
          <a:xfrm>
            <a:off x="431886" y="1512000"/>
            <a:ext cx="5472114"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2" name="Text Placeholder 4">
            <a:extLst>
              <a:ext uri="{FF2B5EF4-FFF2-40B4-BE49-F238E27FC236}">
                <a16:creationId xmlns:a16="http://schemas.microsoft.com/office/drawing/2014/main" id="{D33A71EE-E94D-4F02-B8C5-DC59F4563833}"/>
              </a:ext>
            </a:extLst>
          </p:cNvPr>
          <p:cNvSpPr>
            <a:spLocks noGrp="1"/>
          </p:cNvSpPr>
          <p:nvPr>
            <p:ph type="body" sz="quarter" idx="3"/>
          </p:nvPr>
        </p:nvSpPr>
        <p:spPr>
          <a:xfrm>
            <a:off x="6299886" y="1512000"/>
            <a:ext cx="5472114"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3" name="Content Placeholder 5">
            <a:extLst>
              <a:ext uri="{FF2B5EF4-FFF2-40B4-BE49-F238E27FC236}">
                <a16:creationId xmlns:a16="http://schemas.microsoft.com/office/drawing/2014/main" id="{EF63D731-8A55-4A6C-A975-9B0F1F435646}"/>
              </a:ext>
            </a:extLst>
          </p:cNvPr>
          <p:cNvSpPr>
            <a:spLocks noGrp="1"/>
          </p:cNvSpPr>
          <p:nvPr>
            <p:ph sz="quarter" idx="4"/>
          </p:nvPr>
        </p:nvSpPr>
        <p:spPr>
          <a:xfrm>
            <a:off x="6299886" y="2505075"/>
            <a:ext cx="5472114" cy="368458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3">
            <a:extLst>
              <a:ext uri="{FF2B5EF4-FFF2-40B4-BE49-F238E27FC236}">
                <a16:creationId xmlns:a16="http://schemas.microsoft.com/office/drawing/2014/main" id="{60CBD79B-0266-4692-9562-0F7706A271D8}"/>
              </a:ext>
            </a:extLst>
          </p:cNvPr>
          <p:cNvSpPr>
            <a:spLocks noGrp="1"/>
          </p:cNvSpPr>
          <p:nvPr>
            <p:ph sz="half" idx="2"/>
          </p:nvPr>
        </p:nvSpPr>
        <p:spPr>
          <a:xfrm>
            <a:off x="431887" y="2505075"/>
            <a:ext cx="5472114" cy="368458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Rectangle 8">
            <a:extLst>
              <a:ext uri="{FF2B5EF4-FFF2-40B4-BE49-F238E27FC236}">
                <a16:creationId xmlns:a16="http://schemas.microsoft.com/office/drawing/2014/main" id="{D689425D-C3EC-47CE-865F-7C9990C5212A}"/>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10" name="Rectangle 9">
            <a:extLst>
              <a:ext uri="{FF2B5EF4-FFF2-40B4-BE49-F238E27FC236}">
                <a16:creationId xmlns:a16="http://schemas.microsoft.com/office/drawing/2014/main" id="{4712F493-1ADA-4BAA-B6C2-D8EFFCC34BB6}"/>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1297905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F94EB5D3-F8CB-4E76-8D7E-FF441818EECB}"/>
              </a:ext>
            </a:extLst>
          </p:cNvPr>
          <p:cNvSpPr>
            <a:spLocks noGrp="1"/>
          </p:cNvSpPr>
          <p:nvPr>
            <p:ph type="body" sz="quarter" idx="32" hasCustomPrompt="1"/>
          </p:nvPr>
        </p:nvSpPr>
        <p:spPr>
          <a:xfrm>
            <a:off x="431800" y="1008000"/>
            <a:ext cx="11339513" cy="360000"/>
          </a:xfrm>
        </p:spPr>
        <p:txBody>
          <a:bodyPr/>
          <a:lstStyle>
            <a:lvl1pPr marL="0" indent="0">
              <a:buNone/>
              <a:defRPr>
                <a:solidFill>
                  <a:schemeClr val="tx1">
                    <a:lumMod val="75000"/>
                    <a:lumOff val="25000"/>
                  </a:schemeClr>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512000"/>
            <a:ext cx="3600000"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16A38E24-EB1C-472F-B631-5DF32F9C4CF5}"/>
              </a:ext>
            </a:extLst>
          </p:cNvPr>
          <p:cNvSpPr>
            <a:spLocks noGrp="1"/>
          </p:cNvSpPr>
          <p:nvPr>
            <p:ph type="body" sz="quarter" idx="12"/>
          </p:nvPr>
        </p:nvSpPr>
        <p:spPr>
          <a:xfrm>
            <a:off x="4301550" y="1511476"/>
            <a:ext cx="3600450" cy="4679249"/>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a:extLst>
              <a:ext uri="{FF2B5EF4-FFF2-40B4-BE49-F238E27FC236}">
                <a16:creationId xmlns:a16="http://schemas.microsoft.com/office/drawing/2014/main" id="{5B4A252E-78C9-4F76-98A4-A4B580AD072A}"/>
              </a:ext>
            </a:extLst>
          </p:cNvPr>
          <p:cNvSpPr>
            <a:spLocks noGrp="1"/>
          </p:cNvSpPr>
          <p:nvPr>
            <p:ph type="body" sz="quarter" idx="13"/>
          </p:nvPr>
        </p:nvSpPr>
        <p:spPr>
          <a:xfrm>
            <a:off x="8171550" y="1511475"/>
            <a:ext cx="3600450"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6D4BCA97-F31B-451D-82F8-6E000DF2118A}"/>
              </a:ext>
            </a:extLst>
          </p:cNvPr>
          <p:cNvSpPr>
            <a:spLocks noGrp="1"/>
          </p:cNvSpPr>
          <p:nvPr>
            <p:ph type="ftr" sz="quarter" idx="14"/>
          </p:nvPr>
        </p:nvSpPr>
        <p:spPr/>
        <p:txBody>
          <a:bodyPr/>
          <a:lstStyle/>
          <a:p>
            <a:endParaRPr lang="en-US"/>
          </a:p>
        </p:txBody>
      </p:sp>
      <p:sp>
        <p:nvSpPr>
          <p:cNvPr id="6" name="Slide Number Placeholder 5">
            <a:extLst>
              <a:ext uri="{FF2B5EF4-FFF2-40B4-BE49-F238E27FC236}">
                <a16:creationId xmlns:a16="http://schemas.microsoft.com/office/drawing/2014/main" id="{0817AAC4-A657-4D75-A527-0307AFF2B17B}"/>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7" name="Title 6">
            <a:extLst>
              <a:ext uri="{FF2B5EF4-FFF2-40B4-BE49-F238E27FC236}">
                <a16:creationId xmlns:a16="http://schemas.microsoft.com/office/drawing/2014/main" id="{684F2FFD-7164-411A-96A5-A5211A6CAD45}"/>
              </a:ext>
            </a:extLst>
          </p:cNvPr>
          <p:cNvSpPr>
            <a:spLocks noGrp="1"/>
          </p:cNvSpPr>
          <p:nvPr>
            <p:ph type="title"/>
          </p:nvPr>
        </p:nvSpPr>
        <p:spPr/>
        <p:txBody>
          <a:bodyPr/>
          <a:lstStyle/>
          <a:p>
            <a:r>
              <a:rPr lang="en-US" noProof="0"/>
              <a:t>Click to edit Master title style</a:t>
            </a:r>
          </a:p>
        </p:txBody>
      </p:sp>
      <p:sp>
        <p:nvSpPr>
          <p:cNvPr id="10" name="Rectangle 9">
            <a:extLst>
              <a:ext uri="{FF2B5EF4-FFF2-40B4-BE49-F238E27FC236}">
                <a16:creationId xmlns:a16="http://schemas.microsoft.com/office/drawing/2014/main" id="{67A02932-A200-4952-8C95-42C6DCCCD35A}"/>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12" name="Rectangle 11">
            <a:extLst>
              <a:ext uri="{FF2B5EF4-FFF2-40B4-BE49-F238E27FC236}">
                <a16:creationId xmlns:a16="http://schemas.microsoft.com/office/drawing/2014/main" id="{EFEBEDA3-145D-454D-BDA2-2E813BC99DC5}"/>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4124151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9D7ACCB5-9A86-4F46-89E2-B79F48C9EC1D}"/>
              </a:ext>
            </a:extLst>
          </p:cNvPr>
          <p:cNvSpPr>
            <a:spLocks noGrp="1"/>
          </p:cNvSpPr>
          <p:nvPr>
            <p:ph type="body" sz="quarter" idx="32" hasCustomPrompt="1"/>
          </p:nvPr>
        </p:nvSpPr>
        <p:spPr>
          <a:xfrm>
            <a:off x="431800" y="1008000"/>
            <a:ext cx="11339513" cy="360000"/>
          </a:xfrm>
        </p:spPr>
        <p:txBody>
          <a:bodyPr/>
          <a:lstStyle>
            <a:lvl1pPr marL="0" indent="0">
              <a:buNone/>
              <a:defRPr>
                <a:solidFill>
                  <a:schemeClr val="tx1">
                    <a:lumMod val="75000"/>
                    <a:lumOff val="25000"/>
                  </a:schemeClr>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512000"/>
            <a:ext cx="2160000"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p:nvPr>
        </p:nvSpPr>
        <p:spPr>
          <a:xfrm>
            <a:off x="2726412" y="1512000"/>
            <a:ext cx="2160588"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5">
            <a:extLst>
              <a:ext uri="{FF2B5EF4-FFF2-40B4-BE49-F238E27FC236}">
                <a16:creationId xmlns:a16="http://schemas.microsoft.com/office/drawing/2014/main" id="{6A983D98-E0AB-429A-9EC2-B50D4216D691}"/>
              </a:ext>
            </a:extLst>
          </p:cNvPr>
          <p:cNvSpPr>
            <a:spLocks noGrp="1"/>
          </p:cNvSpPr>
          <p:nvPr>
            <p:ph type="body" sz="quarter" idx="13"/>
          </p:nvPr>
        </p:nvSpPr>
        <p:spPr>
          <a:xfrm>
            <a:off x="5021412" y="1512000"/>
            <a:ext cx="2160588"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6">
            <a:extLst>
              <a:ext uri="{FF2B5EF4-FFF2-40B4-BE49-F238E27FC236}">
                <a16:creationId xmlns:a16="http://schemas.microsoft.com/office/drawing/2014/main" id="{755213BF-EF6D-45DC-A01B-DE6C2F23A6D2}"/>
              </a:ext>
            </a:extLst>
          </p:cNvPr>
          <p:cNvSpPr>
            <a:spLocks noGrp="1"/>
          </p:cNvSpPr>
          <p:nvPr>
            <p:ph type="body" sz="quarter" idx="14"/>
          </p:nvPr>
        </p:nvSpPr>
        <p:spPr>
          <a:xfrm>
            <a:off x="7316412" y="1507535"/>
            <a:ext cx="2160588"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7">
            <a:extLst>
              <a:ext uri="{FF2B5EF4-FFF2-40B4-BE49-F238E27FC236}">
                <a16:creationId xmlns:a16="http://schemas.microsoft.com/office/drawing/2014/main" id="{77D6BBBA-F4A3-45D4-91BC-A405FFDC7C3D}"/>
              </a:ext>
            </a:extLst>
          </p:cNvPr>
          <p:cNvSpPr>
            <a:spLocks noGrp="1"/>
          </p:cNvSpPr>
          <p:nvPr>
            <p:ph type="body" sz="quarter" idx="15"/>
          </p:nvPr>
        </p:nvSpPr>
        <p:spPr>
          <a:xfrm>
            <a:off x="9611412" y="1507535"/>
            <a:ext cx="2160588" cy="4683715"/>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2D09234E-176D-4BBF-9391-7B6F018C51AB}"/>
              </a:ext>
            </a:extLst>
          </p:cNvPr>
          <p:cNvSpPr>
            <a:spLocks noGrp="1"/>
          </p:cNvSpPr>
          <p:nvPr>
            <p:ph type="ftr" sz="quarter" idx="16"/>
          </p:nvPr>
        </p:nvSpPr>
        <p:spPr/>
        <p:txBody>
          <a:bodyPr/>
          <a:lstStyle/>
          <a:p>
            <a:endParaRPr lang="en-US"/>
          </a:p>
        </p:txBody>
      </p:sp>
      <p:sp>
        <p:nvSpPr>
          <p:cNvPr id="6" name="Slide Number Placeholder 5">
            <a:extLst>
              <a:ext uri="{FF2B5EF4-FFF2-40B4-BE49-F238E27FC236}">
                <a16:creationId xmlns:a16="http://schemas.microsoft.com/office/drawing/2014/main" id="{ED8B3FD9-234A-4B72-9A91-D7DD23D39CDC}"/>
              </a:ext>
            </a:extLst>
          </p:cNvPr>
          <p:cNvSpPr>
            <a:spLocks noGrp="1"/>
          </p:cNvSpPr>
          <p:nvPr>
            <p:ph type="sldNum" sz="quarter" idx="33"/>
          </p:nvPr>
        </p:nvSpPr>
        <p:spPr/>
        <p:txBody>
          <a:bodyPr/>
          <a:lstStyle/>
          <a:p>
            <a:fld id="{330EA680-D336-4FF7-8B7A-9848BB0A1C32}" type="slidenum">
              <a:rPr lang="en-US" smtClean="0"/>
              <a:t>‹#›</a:t>
            </a:fld>
            <a:endParaRPr lang="en-US"/>
          </a:p>
        </p:txBody>
      </p:sp>
      <p:sp>
        <p:nvSpPr>
          <p:cNvPr id="7" name="Title 6">
            <a:extLst>
              <a:ext uri="{FF2B5EF4-FFF2-40B4-BE49-F238E27FC236}">
                <a16:creationId xmlns:a16="http://schemas.microsoft.com/office/drawing/2014/main" id="{1FDBADDA-AF39-45A0-BBAB-A87608C0A8EB}"/>
              </a:ext>
            </a:extLst>
          </p:cNvPr>
          <p:cNvSpPr>
            <a:spLocks noGrp="1"/>
          </p:cNvSpPr>
          <p:nvPr>
            <p:ph type="title"/>
          </p:nvPr>
        </p:nvSpPr>
        <p:spPr/>
        <p:txBody>
          <a:bodyPr/>
          <a:lstStyle/>
          <a:p>
            <a:r>
              <a:rPr lang="en-US" noProof="0"/>
              <a:t>Click to edit Master title style</a:t>
            </a:r>
          </a:p>
        </p:txBody>
      </p:sp>
      <p:sp>
        <p:nvSpPr>
          <p:cNvPr id="11" name="Rectangle 10">
            <a:extLst>
              <a:ext uri="{FF2B5EF4-FFF2-40B4-BE49-F238E27FC236}">
                <a16:creationId xmlns:a16="http://schemas.microsoft.com/office/drawing/2014/main" id="{7A263895-E674-4F9E-8517-998DB7A32C5B}"/>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12" name="Rectangle 11">
            <a:extLst>
              <a:ext uri="{FF2B5EF4-FFF2-40B4-BE49-F238E27FC236}">
                <a16:creationId xmlns:a16="http://schemas.microsoft.com/office/drawing/2014/main" id="{A25E9C87-2A34-456E-BEE7-C953711935C1}"/>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9396173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CB24018-690B-4552-9994-3F090E16014A}"/>
              </a:ext>
            </a:extLst>
          </p:cNvPr>
          <p:cNvSpPr>
            <a:spLocks noGrp="1"/>
          </p:cNvSpPr>
          <p:nvPr>
            <p:ph type="ftr" sz="quarter" idx="12"/>
          </p:nvPr>
        </p:nvSpPr>
        <p:spPr/>
        <p:txBody>
          <a:bodyPr/>
          <a:lstStyle/>
          <a:p>
            <a:endParaRPr lang="en-US"/>
          </a:p>
        </p:txBody>
      </p:sp>
      <p:sp>
        <p:nvSpPr>
          <p:cNvPr id="10" name="Slide Number Placeholder 9">
            <a:extLst>
              <a:ext uri="{FF2B5EF4-FFF2-40B4-BE49-F238E27FC236}">
                <a16:creationId xmlns:a16="http://schemas.microsoft.com/office/drawing/2014/main" id="{4D8B2323-066D-4AC1-9FC8-A06D7E8B5818}"/>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8" name="Title 1">
            <a:extLst>
              <a:ext uri="{FF2B5EF4-FFF2-40B4-BE49-F238E27FC236}">
                <a16:creationId xmlns:a16="http://schemas.microsoft.com/office/drawing/2014/main" id="{F30A9B71-A789-4057-B729-15D78CF34E05}"/>
              </a:ext>
            </a:extLst>
          </p:cNvPr>
          <p:cNvSpPr>
            <a:spLocks noGrp="1"/>
          </p:cNvSpPr>
          <p:nvPr>
            <p:ph type="ctrTitle" hasCustomPrompt="1"/>
          </p:nvPr>
        </p:nvSpPr>
        <p:spPr>
          <a:xfrm>
            <a:off x="355601" y="3263898"/>
            <a:ext cx="4840085" cy="1626013"/>
          </a:xfrm>
          <a:gradFill>
            <a:gsLst>
              <a:gs pos="31860">
                <a:schemeClr val="bg1">
                  <a:alpha val="90000"/>
                </a:schemeClr>
              </a:gs>
              <a:gs pos="0">
                <a:schemeClr val="accent1">
                  <a:lumMod val="20000"/>
                  <a:lumOff val="80000"/>
                  <a:alpha val="50000"/>
                </a:schemeClr>
              </a:gs>
              <a:gs pos="59000">
                <a:schemeClr val="bg1"/>
              </a:gs>
            </a:gsLst>
            <a:lin ang="3600000" scaled="0"/>
          </a:gradFill>
        </p:spPr>
        <p:txBody>
          <a:bodyPr lIns="72000" rIns="180000" bIns="180000" anchor="b"/>
          <a:lstStyle>
            <a:lvl1pPr algn="r">
              <a:lnSpc>
                <a:spcPts val="4700"/>
              </a:lnSpc>
              <a:defRPr sz="4500">
                <a:solidFill>
                  <a:schemeClr val="tx1"/>
                </a:solidFill>
              </a:defRPr>
            </a:lvl1pPr>
          </a:lstStyle>
          <a:p>
            <a:r>
              <a:rPr lang="en-US" noProof="0"/>
              <a:t>Click to edit presentation title</a:t>
            </a:r>
          </a:p>
        </p:txBody>
      </p:sp>
      <p:sp>
        <p:nvSpPr>
          <p:cNvPr id="14" name="Text Placeholder 3">
            <a:extLst>
              <a:ext uri="{FF2B5EF4-FFF2-40B4-BE49-F238E27FC236}">
                <a16:creationId xmlns:a16="http://schemas.microsoft.com/office/drawing/2014/main" id="{8A083984-DDF1-4D26-BB0A-9EE8430AB214}"/>
              </a:ext>
            </a:extLst>
          </p:cNvPr>
          <p:cNvSpPr>
            <a:spLocks noGrp="1"/>
          </p:cNvSpPr>
          <p:nvPr>
            <p:ph type="body" sz="half" idx="2"/>
          </p:nvPr>
        </p:nvSpPr>
        <p:spPr>
          <a:xfrm>
            <a:off x="355601" y="4889910"/>
            <a:ext cx="4840085" cy="816077"/>
          </a:xfrm>
          <a:solidFill>
            <a:schemeClr val="bg1">
              <a:alpha val="80000"/>
            </a:schemeClr>
          </a:solidFill>
          <a:ln w="3175">
            <a:gradFill>
              <a:gsLst>
                <a:gs pos="0">
                  <a:schemeClr val="bg1">
                    <a:lumMod val="95000"/>
                  </a:schemeClr>
                </a:gs>
                <a:gs pos="100000">
                  <a:schemeClr val="accent1"/>
                </a:gs>
              </a:gsLst>
              <a:lin ang="0" scaled="0"/>
            </a:gradFill>
          </a:ln>
        </p:spPr>
        <p:txBody>
          <a:bodyPr vert="horz" lIns="0" tIns="144000" rIns="180000" bIns="0" rtlCol="0">
            <a:noAutofit/>
          </a:bodyPr>
          <a:lstStyle>
            <a:lvl1pPr marL="0" indent="0" algn="r">
              <a:buNone/>
              <a:defRPr lang="en-US">
                <a:solidFill>
                  <a:schemeClr val="tx1"/>
                </a:solidFill>
              </a:defRPr>
            </a:lvl1pPr>
          </a:lstStyle>
          <a:p>
            <a:pPr marL="266700" lvl="0" indent="-266700" algn="r"/>
            <a:r>
              <a:rPr lang="en-US" noProof="0"/>
              <a:t>Edit Master text styles</a:t>
            </a:r>
          </a:p>
        </p:txBody>
      </p:sp>
      <p:sp>
        <p:nvSpPr>
          <p:cNvPr id="15" name="Content Placeholder 2">
            <a:extLst>
              <a:ext uri="{FF2B5EF4-FFF2-40B4-BE49-F238E27FC236}">
                <a16:creationId xmlns:a16="http://schemas.microsoft.com/office/drawing/2014/main" id="{305EC740-58FD-4D74-B7D7-DA487FC5EC30}"/>
              </a:ext>
            </a:extLst>
          </p:cNvPr>
          <p:cNvSpPr>
            <a:spLocks noGrp="1"/>
          </p:cNvSpPr>
          <p:nvPr>
            <p:ph idx="1"/>
          </p:nvPr>
        </p:nvSpPr>
        <p:spPr>
          <a:xfrm>
            <a:off x="6096000" y="987425"/>
            <a:ext cx="5472000" cy="4718562"/>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Rectangle 6">
            <a:extLst>
              <a:ext uri="{FF2B5EF4-FFF2-40B4-BE49-F238E27FC236}">
                <a16:creationId xmlns:a16="http://schemas.microsoft.com/office/drawing/2014/main" id="{B5024451-B515-4DB0-AC8D-B758A3C42D38}"/>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9" name="Rectangle 8">
            <a:extLst>
              <a:ext uri="{FF2B5EF4-FFF2-40B4-BE49-F238E27FC236}">
                <a16:creationId xmlns:a16="http://schemas.microsoft.com/office/drawing/2014/main" id="{091BC940-731B-4F9C-9CA9-8F58B951B651}"/>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22738989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CB24018-690B-4552-9994-3F090E16014A}"/>
              </a:ext>
            </a:extLst>
          </p:cNvPr>
          <p:cNvSpPr>
            <a:spLocks noGrp="1"/>
          </p:cNvSpPr>
          <p:nvPr>
            <p:ph type="ftr" sz="quarter" idx="12"/>
          </p:nvPr>
        </p:nvSpPr>
        <p:spPr/>
        <p:txBody>
          <a:bodyPr/>
          <a:lstStyle/>
          <a:p>
            <a:endParaRPr lang="en-US"/>
          </a:p>
        </p:txBody>
      </p:sp>
      <p:sp>
        <p:nvSpPr>
          <p:cNvPr id="10" name="Slide Number Placeholder 9">
            <a:extLst>
              <a:ext uri="{FF2B5EF4-FFF2-40B4-BE49-F238E27FC236}">
                <a16:creationId xmlns:a16="http://schemas.microsoft.com/office/drawing/2014/main" id="{4D8B2323-066D-4AC1-9FC8-A06D7E8B5818}"/>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8" name="Title 1">
            <a:extLst>
              <a:ext uri="{FF2B5EF4-FFF2-40B4-BE49-F238E27FC236}">
                <a16:creationId xmlns:a16="http://schemas.microsoft.com/office/drawing/2014/main" id="{F30A9B71-A789-4057-B729-15D78CF34E05}"/>
              </a:ext>
            </a:extLst>
          </p:cNvPr>
          <p:cNvSpPr>
            <a:spLocks noGrp="1"/>
          </p:cNvSpPr>
          <p:nvPr>
            <p:ph type="ctrTitle" hasCustomPrompt="1"/>
          </p:nvPr>
        </p:nvSpPr>
        <p:spPr>
          <a:xfrm>
            <a:off x="355601" y="3263898"/>
            <a:ext cx="4840085" cy="1626013"/>
          </a:xfrm>
          <a:gradFill>
            <a:gsLst>
              <a:gs pos="31860">
                <a:schemeClr val="bg1">
                  <a:alpha val="90000"/>
                </a:schemeClr>
              </a:gs>
              <a:gs pos="0">
                <a:schemeClr val="accent1">
                  <a:lumMod val="20000"/>
                  <a:lumOff val="80000"/>
                  <a:alpha val="50000"/>
                </a:schemeClr>
              </a:gs>
              <a:gs pos="59000">
                <a:schemeClr val="bg1"/>
              </a:gs>
            </a:gsLst>
            <a:lin ang="3600000" scaled="0"/>
          </a:gradFill>
        </p:spPr>
        <p:txBody>
          <a:bodyPr lIns="72000" rIns="180000" bIns="180000" anchor="b"/>
          <a:lstStyle>
            <a:lvl1pPr algn="r">
              <a:lnSpc>
                <a:spcPts val="4700"/>
              </a:lnSpc>
              <a:defRPr sz="4500">
                <a:solidFill>
                  <a:schemeClr val="tx1"/>
                </a:solidFill>
              </a:defRPr>
            </a:lvl1pPr>
          </a:lstStyle>
          <a:p>
            <a:r>
              <a:rPr lang="en-US" noProof="0"/>
              <a:t>Click to edit presentation title</a:t>
            </a:r>
          </a:p>
        </p:txBody>
      </p:sp>
      <p:sp>
        <p:nvSpPr>
          <p:cNvPr id="14" name="Text Placeholder 3">
            <a:extLst>
              <a:ext uri="{FF2B5EF4-FFF2-40B4-BE49-F238E27FC236}">
                <a16:creationId xmlns:a16="http://schemas.microsoft.com/office/drawing/2014/main" id="{8A083984-DDF1-4D26-BB0A-9EE8430AB214}"/>
              </a:ext>
            </a:extLst>
          </p:cNvPr>
          <p:cNvSpPr>
            <a:spLocks noGrp="1"/>
          </p:cNvSpPr>
          <p:nvPr>
            <p:ph type="body" sz="half" idx="2"/>
          </p:nvPr>
        </p:nvSpPr>
        <p:spPr>
          <a:xfrm>
            <a:off x="355601" y="4889910"/>
            <a:ext cx="4840085" cy="816077"/>
          </a:xfrm>
          <a:solidFill>
            <a:schemeClr val="bg1">
              <a:alpha val="80000"/>
            </a:schemeClr>
          </a:solidFill>
          <a:ln w="3175">
            <a:gradFill>
              <a:gsLst>
                <a:gs pos="0">
                  <a:schemeClr val="bg1">
                    <a:lumMod val="95000"/>
                  </a:schemeClr>
                </a:gs>
                <a:gs pos="100000">
                  <a:schemeClr val="accent1"/>
                </a:gs>
              </a:gsLst>
              <a:lin ang="0" scaled="0"/>
            </a:gradFill>
          </a:ln>
        </p:spPr>
        <p:txBody>
          <a:bodyPr vert="horz" lIns="0" tIns="144000" rIns="180000" bIns="0" rtlCol="0">
            <a:noAutofit/>
          </a:bodyPr>
          <a:lstStyle>
            <a:lvl1pPr marL="0" indent="0" algn="r">
              <a:buNone/>
              <a:defRPr lang="en-US">
                <a:solidFill>
                  <a:schemeClr val="tx1"/>
                </a:solidFill>
              </a:defRPr>
            </a:lvl1pPr>
          </a:lstStyle>
          <a:p>
            <a:pPr marL="266700" lvl="0" indent="-266700" algn="r"/>
            <a:r>
              <a:rPr lang="en-US" noProof="0"/>
              <a:t>Edit Master text styles</a:t>
            </a:r>
          </a:p>
        </p:txBody>
      </p:sp>
      <p:sp>
        <p:nvSpPr>
          <p:cNvPr id="7" name="Picture Placeholder 2">
            <a:extLst>
              <a:ext uri="{FF2B5EF4-FFF2-40B4-BE49-F238E27FC236}">
                <a16:creationId xmlns:a16="http://schemas.microsoft.com/office/drawing/2014/main" id="{E28466D9-7530-474E-BC12-1642958B7245}"/>
              </a:ext>
            </a:extLst>
          </p:cNvPr>
          <p:cNvSpPr>
            <a:spLocks noGrp="1"/>
          </p:cNvSpPr>
          <p:nvPr>
            <p:ph type="pic" idx="1"/>
          </p:nvPr>
        </p:nvSpPr>
        <p:spPr>
          <a:xfrm>
            <a:off x="6095999" y="987425"/>
            <a:ext cx="5471999" cy="471856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US" noProof="0" dirty="0"/>
          </a:p>
        </p:txBody>
      </p:sp>
      <p:sp>
        <p:nvSpPr>
          <p:cNvPr id="9" name="Rectangle 8">
            <a:extLst>
              <a:ext uri="{FF2B5EF4-FFF2-40B4-BE49-F238E27FC236}">
                <a16:creationId xmlns:a16="http://schemas.microsoft.com/office/drawing/2014/main" id="{B7F4D648-AC0D-4195-8719-EDE8E00248E9}"/>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11" name="Rectangle 10">
            <a:extLst>
              <a:ext uri="{FF2B5EF4-FFF2-40B4-BE49-F238E27FC236}">
                <a16:creationId xmlns:a16="http://schemas.microsoft.com/office/drawing/2014/main" id="{25020F50-DEA6-48B6-AD7E-1DC28B30A98F}"/>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8955131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CCB8C2-B6A2-4C69-8D3A-57420A034BA4}"/>
              </a:ext>
            </a:extLst>
          </p:cNvPr>
          <p:cNvSpPr>
            <a:spLocks noGrp="1"/>
          </p:cNvSpPr>
          <p:nvPr>
            <p:ph type="ftr" sz="quarter" idx="12"/>
          </p:nvPr>
        </p:nvSpPr>
        <p:spPr/>
        <p:txBody>
          <a:bodyPr/>
          <a:lstStyle/>
          <a:p>
            <a:endParaRPr lang="en-US"/>
          </a:p>
        </p:txBody>
      </p:sp>
      <p:sp>
        <p:nvSpPr>
          <p:cNvPr id="4" name="Slide Number Placeholder 3">
            <a:extLst>
              <a:ext uri="{FF2B5EF4-FFF2-40B4-BE49-F238E27FC236}">
                <a16:creationId xmlns:a16="http://schemas.microsoft.com/office/drawing/2014/main" id="{6387D291-05F0-4DD7-A728-945B6C9F2382}"/>
              </a:ext>
            </a:extLst>
          </p:cNvPr>
          <p:cNvSpPr>
            <a:spLocks noGrp="1"/>
          </p:cNvSpPr>
          <p:nvPr>
            <p:ph type="sldNum" sz="quarter" idx="33"/>
          </p:nvPr>
        </p:nvSpPr>
        <p:spPr/>
        <p:txBody>
          <a:bodyPr/>
          <a:lstStyle/>
          <a:p>
            <a:fld id="{330EA680-D336-4FF7-8B7A-9848BB0A1C32}" type="slidenum">
              <a:rPr lang="en-US" smtClean="0"/>
              <a:t>‹#›</a:t>
            </a:fld>
            <a:endParaRPr lang="en-US"/>
          </a:p>
        </p:txBody>
      </p:sp>
      <p:sp>
        <p:nvSpPr>
          <p:cNvPr id="6" name="Title 5">
            <a:extLst>
              <a:ext uri="{FF2B5EF4-FFF2-40B4-BE49-F238E27FC236}">
                <a16:creationId xmlns:a16="http://schemas.microsoft.com/office/drawing/2014/main" id="{61A6105F-5309-4A56-AAF2-8D4A0477F00A}"/>
              </a:ext>
            </a:extLst>
          </p:cNvPr>
          <p:cNvSpPr>
            <a:spLocks noGrp="1"/>
          </p:cNvSpPr>
          <p:nvPr>
            <p:ph type="title"/>
          </p:nvPr>
        </p:nvSpPr>
        <p:spPr/>
        <p:txBody>
          <a:bodyPr/>
          <a:lstStyle/>
          <a:p>
            <a:r>
              <a:rPr lang="en-US" noProof="0"/>
              <a:t>Click to edit Master title style</a:t>
            </a:r>
          </a:p>
        </p:txBody>
      </p:sp>
      <p:sp>
        <p:nvSpPr>
          <p:cNvPr id="5" name="Rectangle 4">
            <a:extLst>
              <a:ext uri="{FF2B5EF4-FFF2-40B4-BE49-F238E27FC236}">
                <a16:creationId xmlns:a16="http://schemas.microsoft.com/office/drawing/2014/main" id="{85D6E8A5-C2FD-4807-BB5B-114A31714306}"/>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7" name="Rectangle 6">
            <a:extLst>
              <a:ext uri="{FF2B5EF4-FFF2-40B4-BE49-F238E27FC236}">
                <a16:creationId xmlns:a16="http://schemas.microsoft.com/office/drawing/2014/main" id="{01559E59-E38D-48D0-9923-4597F15B9CF0}"/>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31357305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CCB8C2-B6A2-4C69-8D3A-57420A034BA4}"/>
              </a:ext>
            </a:extLst>
          </p:cNvPr>
          <p:cNvSpPr>
            <a:spLocks noGrp="1"/>
          </p:cNvSpPr>
          <p:nvPr>
            <p:ph type="ftr" sz="quarter" idx="12"/>
          </p:nvPr>
        </p:nvSpPr>
        <p:spPr/>
        <p:txBody>
          <a:bodyPr/>
          <a:lstStyle/>
          <a:p>
            <a:endParaRPr lang="en-US"/>
          </a:p>
        </p:txBody>
      </p:sp>
      <p:sp>
        <p:nvSpPr>
          <p:cNvPr id="4" name="Slide Number Placeholder 3">
            <a:extLst>
              <a:ext uri="{FF2B5EF4-FFF2-40B4-BE49-F238E27FC236}">
                <a16:creationId xmlns:a16="http://schemas.microsoft.com/office/drawing/2014/main" id="{6387D291-05F0-4DD7-A728-945B6C9F2382}"/>
              </a:ext>
            </a:extLst>
          </p:cNvPr>
          <p:cNvSpPr>
            <a:spLocks noGrp="1"/>
          </p:cNvSpPr>
          <p:nvPr>
            <p:ph type="sldNum" sz="quarter" idx="33"/>
          </p:nvPr>
        </p:nvSpPr>
        <p:spPr/>
        <p:txBody>
          <a:bodyPr/>
          <a:lstStyle/>
          <a:p>
            <a:fld id="{330EA680-D336-4FF7-8B7A-9848BB0A1C32}" type="slidenum">
              <a:rPr lang="en-US" smtClean="0"/>
              <a:t>‹#›</a:t>
            </a:fld>
            <a:endParaRPr lang="en-US"/>
          </a:p>
        </p:txBody>
      </p:sp>
      <p:sp>
        <p:nvSpPr>
          <p:cNvPr id="6" name="Title 5">
            <a:extLst>
              <a:ext uri="{FF2B5EF4-FFF2-40B4-BE49-F238E27FC236}">
                <a16:creationId xmlns:a16="http://schemas.microsoft.com/office/drawing/2014/main" id="{61A6105F-5309-4A56-AAF2-8D4A0477F00A}"/>
              </a:ext>
            </a:extLst>
          </p:cNvPr>
          <p:cNvSpPr>
            <a:spLocks noGrp="1"/>
          </p:cNvSpPr>
          <p:nvPr>
            <p:ph type="title"/>
          </p:nvPr>
        </p:nvSpPr>
        <p:spPr/>
        <p:txBody>
          <a:bodyPr/>
          <a:lstStyle/>
          <a:p>
            <a:r>
              <a:rPr lang="en-US" noProof="0"/>
              <a:t>Click to edit Master title style</a:t>
            </a:r>
          </a:p>
        </p:txBody>
      </p:sp>
      <p:sp>
        <p:nvSpPr>
          <p:cNvPr id="5" name="Text Placeholder 4">
            <a:extLst>
              <a:ext uri="{FF2B5EF4-FFF2-40B4-BE49-F238E27FC236}">
                <a16:creationId xmlns:a16="http://schemas.microsoft.com/office/drawing/2014/main" id="{55F7A73E-4A54-4742-8586-DD6DAA3BC61C}"/>
              </a:ext>
            </a:extLst>
          </p:cNvPr>
          <p:cNvSpPr>
            <a:spLocks noGrp="1"/>
          </p:cNvSpPr>
          <p:nvPr>
            <p:ph type="body" sz="quarter" idx="34"/>
          </p:nvPr>
        </p:nvSpPr>
        <p:spPr>
          <a:xfrm>
            <a:off x="1313656" y="1955257"/>
            <a:ext cx="9564688" cy="2947486"/>
          </a:xfrm>
        </p:spPr>
        <p:txBody>
          <a:bodyPr anchor="ctr"/>
          <a:lstStyle>
            <a:lvl1pPr marL="0" indent="0" algn="ctr">
              <a:buNone/>
              <a:defRPr sz="6000"/>
            </a:lvl1pPr>
            <a:lvl2pPr marL="266700" indent="0">
              <a:buNone/>
              <a:defRPr/>
            </a:lvl2pPr>
          </a:lstStyle>
          <a:p>
            <a:pPr lvl="0"/>
            <a:r>
              <a:rPr lang="en-US" noProof="0"/>
              <a:t>Edit Master text styles</a:t>
            </a:r>
          </a:p>
        </p:txBody>
      </p:sp>
      <p:sp>
        <p:nvSpPr>
          <p:cNvPr id="7" name="Rectangle 6">
            <a:extLst>
              <a:ext uri="{FF2B5EF4-FFF2-40B4-BE49-F238E27FC236}">
                <a16:creationId xmlns:a16="http://schemas.microsoft.com/office/drawing/2014/main" id="{3BB9B0A8-D47C-4A54-8EAC-79687498817D}"/>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8" name="Rectangle 7">
            <a:extLst>
              <a:ext uri="{FF2B5EF4-FFF2-40B4-BE49-F238E27FC236}">
                <a16:creationId xmlns:a16="http://schemas.microsoft.com/office/drawing/2014/main" id="{554077C2-45E3-401F-AAD6-3F659E3EC13B}"/>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2763163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Divider 1">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837F9836-5B23-424D-8C60-AC02A8512A4B}"/>
              </a:ext>
            </a:extLst>
          </p:cNvPr>
          <p:cNvSpPr>
            <a:spLocks noGrp="1"/>
          </p:cNvSpPr>
          <p:nvPr>
            <p:ph type="pic" sz="quarter" idx="13" hasCustomPrompt="1"/>
          </p:nvPr>
        </p:nvSpPr>
        <p:spPr>
          <a:xfrm>
            <a:off x="144000" y="144000"/>
            <a:ext cx="11905200" cy="6060155"/>
          </a:xfrm>
          <a:solidFill>
            <a:schemeClr val="bg1">
              <a:lumMod val="95000"/>
            </a:schemeClr>
          </a:solidFill>
        </p:spPr>
        <p:txBody>
          <a:bodyPr lIns="0" rIns="1764000" anchor="ctr"/>
          <a:lstStyle>
            <a:lvl1pPr marL="0" indent="0" algn="r">
              <a:buNone/>
              <a:defRPr sz="1200" i="1">
                <a:latin typeface="Times New Roman" panose="02020603050405020304" pitchFamily="18" charset="0"/>
                <a:cs typeface="Times New Roman" panose="02020603050405020304" pitchFamily="18" charset="0"/>
              </a:defRPr>
            </a:lvl1pPr>
          </a:lstStyle>
          <a:p>
            <a:r>
              <a:rPr lang="en-US" noProof="0" dirty="0"/>
              <a:t>Insert or Drag &amp; Drop your photo</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779100" y="804500"/>
            <a:ext cx="4416588" cy="3818712"/>
          </a:xfrm>
          <a:gradFill>
            <a:gsLst>
              <a:gs pos="46000">
                <a:schemeClr val="bg1">
                  <a:alpha val="90000"/>
                </a:schemeClr>
              </a:gs>
              <a:gs pos="0">
                <a:schemeClr val="accent1">
                  <a:lumMod val="20000"/>
                  <a:lumOff val="80000"/>
                  <a:alpha val="50000"/>
                </a:schemeClr>
              </a:gs>
              <a:gs pos="80000">
                <a:schemeClr val="bg1"/>
              </a:gs>
            </a:gsLst>
            <a:lin ang="3600000" scaled="0"/>
          </a:gradFill>
        </p:spPr>
        <p:txBody>
          <a:bodyPr lIns="72000" rIns="180000" bIns="180000" anchor="b"/>
          <a:lstStyle>
            <a:lvl1pPr algn="r">
              <a:lnSpc>
                <a:spcPts val="4700"/>
              </a:lnSpc>
              <a:defRPr sz="4500">
                <a:solidFill>
                  <a:schemeClr val="tx1"/>
                </a:solidFill>
              </a:defRPr>
            </a:lvl1pPr>
          </a:lstStyle>
          <a:p>
            <a:r>
              <a:rPr lang="en-US" noProof="0"/>
              <a:t>Click to edit segue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779099" y="4623212"/>
            <a:ext cx="4416587" cy="816075"/>
          </a:xfrm>
          <a:solidFill>
            <a:schemeClr val="bg1">
              <a:alpha val="80000"/>
            </a:schemeClr>
          </a:solidFill>
          <a:ln>
            <a:gradFill>
              <a:gsLst>
                <a:gs pos="0">
                  <a:schemeClr val="bg1">
                    <a:lumMod val="75000"/>
                  </a:schemeClr>
                </a:gs>
                <a:gs pos="100000">
                  <a:schemeClr val="accent1"/>
                </a:gs>
              </a:gsLst>
              <a:lin ang="0" scaled="0"/>
            </a:gradFill>
          </a:ln>
        </p:spPr>
        <p:txBody>
          <a:bodyPr tIns="144000" rIns="180000"/>
          <a:lstStyle>
            <a:lvl1pPr marL="0" indent="0" algn="r">
              <a:buNone/>
              <a:defRPr sz="18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Footer Placeholder 4">
            <a:extLst>
              <a:ext uri="{FF2B5EF4-FFF2-40B4-BE49-F238E27FC236}">
                <a16:creationId xmlns:a16="http://schemas.microsoft.com/office/drawing/2014/main" id="{0CB24018-690B-4552-9994-3F090E16014A}"/>
              </a:ext>
            </a:extLst>
          </p:cNvPr>
          <p:cNvSpPr>
            <a:spLocks noGrp="1"/>
          </p:cNvSpPr>
          <p:nvPr>
            <p:ph type="ftr" sz="quarter" idx="12"/>
          </p:nvPr>
        </p:nvSpPr>
        <p:spPr/>
        <p:txBody>
          <a:bodyPr/>
          <a:lstStyle/>
          <a:p>
            <a:endParaRPr lang="en-US"/>
          </a:p>
        </p:txBody>
      </p:sp>
      <p:sp>
        <p:nvSpPr>
          <p:cNvPr id="10" name="Slide Number Placeholder 9">
            <a:extLst>
              <a:ext uri="{FF2B5EF4-FFF2-40B4-BE49-F238E27FC236}">
                <a16:creationId xmlns:a16="http://schemas.microsoft.com/office/drawing/2014/main" id="{4D8B2323-066D-4AC1-9FC8-A06D7E8B5818}"/>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7" name="Rectangle 6">
            <a:extLst>
              <a:ext uri="{FF2B5EF4-FFF2-40B4-BE49-F238E27FC236}">
                <a16:creationId xmlns:a16="http://schemas.microsoft.com/office/drawing/2014/main" id="{64B90A99-0391-45AA-914C-1E1FC969A6B9}"/>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7894616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6D0504D-4610-4E9E-A2DB-8B701F044BBC}"/>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BDA9BE28-009E-4D88-9951-81B453F75A4E}"/>
              </a:ext>
            </a:extLst>
          </p:cNvPr>
          <p:cNvSpPr>
            <a:spLocks noGrp="1"/>
          </p:cNvSpPr>
          <p:nvPr>
            <p:ph type="sldNum" sz="quarter" idx="13"/>
          </p:nvPr>
        </p:nvSpPr>
        <p:spPr>
          <a:solidFill>
            <a:schemeClr val="bg1"/>
          </a:solidFill>
        </p:spPr>
        <p:txBody>
          <a:bodyPr/>
          <a:lstStyle/>
          <a:p>
            <a:fld id="{330EA680-D336-4FF7-8B7A-9848BB0A1C32}" type="slidenum">
              <a:rPr lang="en-US" smtClean="0"/>
              <a:t>‹#›</a:t>
            </a:fld>
            <a:endParaRPr lang="en-US"/>
          </a:p>
        </p:txBody>
      </p:sp>
      <p:sp>
        <p:nvSpPr>
          <p:cNvPr id="4" name="Rectangle 3">
            <a:extLst>
              <a:ext uri="{FF2B5EF4-FFF2-40B4-BE49-F238E27FC236}">
                <a16:creationId xmlns:a16="http://schemas.microsoft.com/office/drawing/2014/main" id="{BE2C4C25-8CBE-409B-9A03-6A60112733F6}"/>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5" name="Rectangle 4">
            <a:extLst>
              <a:ext uri="{FF2B5EF4-FFF2-40B4-BE49-F238E27FC236}">
                <a16:creationId xmlns:a16="http://schemas.microsoft.com/office/drawing/2014/main" id="{C7C6366C-6727-42BC-8122-EF813E8EDA16}"/>
              </a:ext>
            </a:extLst>
          </p:cNvPr>
          <p:cNvSpPr/>
          <p:nvPr userDrawn="1"/>
        </p:nvSpPr>
        <p:spPr>
          <a:xfrm>
            <a:off x="9770533" y="6243437"/>
            <a:ext cx="1789289" cy="490385"/>
          </a:xfrm>
          <a:prstGeom prst="rect">
            <a:avLst/>
          </a:prstGeom>
          <a:solidFill>
            <a:srgbClr val="F2F2F2"/>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3456668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Divider 2">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837F9836-5B23-424D-8C60-AC02A8512A4B}"/>
              </a:ext>
            </a:extLst>
          </p:cNvPr>
          <p:cNvSpPr>
            <a:spLocks noGrp="1"/>
          </p:cNvSpPr>
          <p:nvPr>
            <p:ph type="pic" sz="quarter" idx="13" hasCustomPrompt="1"/>
          </p:nvPr>
        </p:nvSpPr>
        <p:spPr>
          <a:xfrm>
            <a:off x="144000" y="144000"/>
            <a:ext cx="11905200" cy="6060155"/>
          </a:xfrm>
          <a:solidFill>
            <a:schemeClr val="bg1">
              <a:lumMod val="95000"/>
            </a:schemeClr>
          </a:solidFill>
        </p:spPr>
        <p:txBody>
          <a:bodyPr lIns="0" tIns="180000" rIns="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mp; Drop your photo</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5943600" y="2438399"/>
            <a:ext cx="5385600" cy="3044399"/>
          </a:xfrm>
          <a:gradFill>
            <a:gsLst>
              <a:gs pos="83186">
                <a:schemeClr val="bg1"/>
              </a:gs>
              <a:gs pos="0">
                <a:schemeClr val="accent1">
                  <a:lumMod val="20000"/>
                  <a:lumOff val="80000"/>
                  <a:alpha val="50000"/>
                </a:schemeClr>
              </a:gs>
              <a:gs pos="46000">
                <a:schemeClr val="bg1">
                  <a:alpha val="90000"/>
                </a:schemeClr>
              </a:gs>
            </a:gsLst>
            <a:lin ang="3600000" scaled="0"/>
          </a:gradFill>
        </p:spPr>
        <p:txBody>
          <a:bodyPr lIns="72000" tIns="180000" rIns="180000" bIns="0" anchor="t"/>
          <a:lstStyle>
            <a:lvl1pPr algn="r">
              <a:lnSpc>
                <a:spcPts val="4700"/>
              </a:lnSpc>
              <a:defRPr sz="4500">
                <a:solidFill>
                  <a:schemeClr val="tx1"/>
                </a:solidFill>
              </a:defRPr>
            </a:lvl1pPr>
          </a:lstStyle>
          <a:p>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8248971" y="4479264"/>
            <a:ext cx="2851629" cy="749534"/>
          </a:xfrm>
          <a:solidFill>
            <a:schemeClr val="bg1">
              <a:alpha val="80000"/>
            </a:schemeClr>
          </a:solidFill>
          <a:ln w="3175">
            <a:gradFill>
              <a:gsLst>
                <a:gs pos="0">
                  <a:schemeClr val="bg1">
                    <a:lumMod val="95000"/>
                  </a:schemeClr>
                </a:gs>
                <a:gs pos="100000">
                  <a:schemeClr val="accent1"/>
                </a:gs>
              </a:gsLst>
              <a:lin ang="10800000" scaled="0"/>
            </a:gradFill>
          </a:ln>
        </p:spPr>
        <p:txBody>
          <a:bodyPr tIns="144000" rIns="180000"/>
          <a:lstStyle>
            <a:lvl1pPr marL="0" indent="0" algn="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Footer Placeholder 4">
            <a:extLst>
              <a:ext uri="{FF2B5EF4-FFF2-40B4-BE49-F238E27FC236}">
                <a16:creationId xmlns:a16="http://schemas.microsoft.com/office/drawing/2014/main" id="{0CB24018-690B-4552-9994-3F090E16014A}"/>
              </a:ext>
            </a:extLst>
          </p:cNvPr>
          <p:cNvSpPr>
            <a:spLocks noGrp="1"/>
          </p:cNvSpPr>
          <p:nvPr>
            <p:ph type="ftr" sz="quarter" idx="12"/>
          </p:nvPr>
        </p:nvSpPr>
        <p:spPr/>
        <p:txBody>
          <a:bodyPr/>
          <a:lstStyle/>
          <a:p>
            <a:endParaRPr lang="en-US"/>
          </a:p>
        </p:txBody>
      </p:sp>
      <p:sp>
        <p:nvSpPr>
          <p:cNvPr id="10" name="Slide Number Placeholder 9">
            <a:extLst>
              <a:ext uri="{FF2B5EF4-FFF2-40B4-BE49-F238E27FC236}">
                <a16:creationId xmlns:a16="http://schemas.microsoft.com/office/drawing/2014/main" id="{4D8B2323-066D-4AC1-9FC8-A06D7E8B5818}"/>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7" name="Rectangle 6">
            <a:extLst>
              <a:ext uri="{FF2B5EF4-FFF2-40B4-BE49-F238E27FC236}">
                <a16:creationId xmlns:a16="http://schemas.microsoft.com/office/drawing/2014/main" id="{94FF4968-F8A7-4CA1-9E55-3DA81ED9222B}"/>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960769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Photo 1">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837F9836-5B23-424D-8C60-AC02A8512A4B}"/>
              </a:ext>
            </a:extLst>
          </p:cNvPr>
          <p:cNvSpPr>
            <a:spLocks noGrp="1"/>
          </p:cNvSpPr>
          <p:nvPr>
            <p:ph type="pic" sz="quarter" idx="13" hasCustomPrompt="1"/>
          </p:nvPr>
        </p:nvSpPr>
        <p:spPr>
          <a:xfrm>
            <a:off x="6769100" y="144000"/>
            <a:ext cx="5280100" cy="6048000"/>
          </a:xfrm>
          <a:solidFill>
            <a:schemeClr val="bg1">
              <a:lumMod val="95000"/>
            </a:schemeClr>
          </a:solidFill>
        </p:spPr>
        <p:txBody>
          <a:bodyPr lIns="0" tIns="180000" rIns="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mp; Drop your photo</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7493000" y="2438399"/>
            <a:ext cx="3836200" cy="3044399"/>
          </a:xfrm>
          <a:gradFill>
            <a:gsLst>
              <a:gs pos="83186">
                <a:schemeClr val="bg1"/>
              </a:gs>
              <a:gs pos="0">
                <a:schemeClr val="accent1">
                  <a:lumMod val="20000"/>
                  <a:lumOff val="80000"/>
                  <a:alpha val="50000"/>
                </a:schemeClr>
              </a:gs>
              <a:gs pos="46000">
                <a:schemeClr val="bg1">
                  <a:alpha val="90000"/>
                </a:schemeClr>
              </a:gs>
            </a:gsLst>
            <a:lin ang="3600000" scaled="0"/>
          </a:gradFill>
        </p:spPr>
        <p:txBody>
          <a:bodyPr lIns="432000" tIns="432000" rIns="72000" bIns="1188000" anchor="t"/>
          <a:lstStyle>
            <a:lvl1pPr algn="l">
              <a:lnSpc>
                <a:spcPts val="4700"/>
              </a:lnSpc>
              <a:defRPr sz="4500">
                <a:solidFill>
                  <a:schemeClr val="tx1"/>
                </a:solidFill>
              </a:defRPr>
            </a:lvl1pPr>
          </a:lstStyle>
          <a:p>
            <a:r>
              <a:rPr lang="en-US" noProof="0"/>
              <a:t>Slide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7747000" y="4465176"/>
            <a:ext cx="3372329" cy="774934"/>
          </a:xfrm>
          <a:solidFill>
            <a:schemeClr val="bg1">
              <a:alpha val="80000"/>
            </a:schemeClr>
          </a:solidFill>
          <a:ln w="3175">
            <a:gradFill>
              <a:gsLst>
                <a:gs pos="0">
                  <a:schemeClr val="bg1">
                    <a:lumMod val="95000"/>
                  </a:schemeClr>
                </a:gs>
                <a:gs pos="100000">
                  <a:schemeClr val="accent1"/>
                </a:gs>
              </a:gsLst>
              <a:lin ang="10800000" scaled="0"/>
            </a:gradFill>
          </a:ln>
        </p:spPr>
        <p:txBody>
          <a:bodyPr lIns="180000" tIns="144000" rIns="0"/>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2" name="Content Placeholder 2">
            <a:extLst>
              <a:ext uri="{FF2B5EF4-FFF2-40B4-BE49-F238E27FC236}">
                <a16:creationId xmlns:a16="http://schemas.microsoft.com/office/drawing/2014/main" id="{23D3924F-A5EC-4141-A191-1A110C406AF7}"/>
              </a:ext>
            </a:extLst>
          </p:cNvPr>
          <p:cNvSpPr>
            <a:spLocks noGrp="1"/>
          </p:cNvSpPr>
          <p:nvPr>
            <p:ph sz="half" idx="15"/>
          </p:nvPr>
        </p:nvSpPr>
        <p:spPr>
          <a:xfrm>
            <a:off x="432000" y="2438399"/>
            <a:ext cx="5472000" cy="3044400"/>
          </a:xfrm>
        </p:spPr>
        <p:txBody>
          <a:bodyPr anchor="b"/>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0CB24018-690B-4552-9994-3F090E16014A}"/>
              </a:ext>
            </a:extLst>
          </p:cNvPr>
          <p:cNvSpPr>
            <a:spLocks noGrp="1"/>
          </p:cNvSpPr>
          <p:nvPr>
            <p:ph type="ftr" sz="quarter" idx="12"/>
          </p:nvPr>
        </p:nvSpPr>
        <p:spPr/>
        <p:txBody>
          <a:bodyPr/>
          <a:lstStyle/>
          <a:p>
            <a:endParaRPr lang="en-US"/>
          </a:p>
        </p:txBody>
      </p:sp>
      <p:sp>
        <p:nvSpPr>
          <p:cNvPr id="10" name="Slide Number Placeholder 9">
            <a:extLst>
              <a:ext uri="{FF2B5EF4-FFF2-40B4-BE49-F238E27FC236}">
                <a16:creationId xmlns:a16="http://schemas.microsoft.com/office/drawing/2014/main" id="{4D8B2323-066D-4AC1-9FC8-A06D7E8B5818}"/>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8" name="Rectangle 7">
            <a:extLst>
              <a:ext uri="{FF2B5EF4-FFF2-40B4-BE49-F238E27FC236}">
                <a16:creationId xmlns:a16="http://schemas.microsoft.com/office/drawing/2014/main" id="{10C6B3B8-2000-4B0A-A0BA-F79C3B09D620}"/>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628281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Photo 2">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837F9836-5B23-424D-8C60-AC02A8512A4B}"/>
              </a:ext>
            </a:extLst>
          </p:cNvPr>
          <p:cNvSpPr>
            <a:spLocks noGrp="1"/>
          </p:cNvSpPr>
          <p:nvPr>
            <p:ph type="pic" sz="quarter" idx="13" hasCustomPrompt="1"/>
          </p:nvPr>
        </p:nvSpPr>
        <p:spPr>
          <a:xfrm>
            <a:off x="144000" y="144000"/>
            <a:ext cx="5280100" cy="6060155"/>
          </a:xfrm>
          <a:solidFill>
            <a:schemeClr val="bg1">
              <a:lumMod val="95000"/>
            </a:schemeClr>
          </a:solidFill>
        </p:spPr>
        <p:txBody>
          <a:bodyPr lIns="0" tIns="1440000" rIns="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mp; Drop your photo</a:t>
            </a:r>
          </a:p>
        </p:txBody>
      </p:sp>
      <p:sp>
        <p:nvSpPr>
          <p:cNvPr id="12" name="Content Placeholder 2">
            <a:extLst>
              <a:ext uri="{FF2B5EF4-FFF2-40B4-BE49-F238E27FC236}">
                <a16:creationId xmlns:a16="http://schemas.microsoft.com/office/drawing/2014/main" id="{23D3924F-A5EC-4141-A191-1A110C406AF7}"/>
              </a:ext>
            </a:extLst>
          </p:cNvPr>
          <p:cNvSpPr>
            <a:spLocks noGrp="1"/>
          </p:cNvSpPr>
          <p:nvPr>
            <p:ph sz="half" idx="15"/>
          </p:nvPr>
        </p:nvSpPr>
        <p:spPr>
          <a:xfrm>
            <a:off x="6096000" y="3263899"/>
            <a:ext cx="5472000" cy="2442088"/>
          </a:xfrm>
        </p:spPr>
        <p:txBody>
          <a:bodyPr anchor="b"/>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0CB24018-690B-4552-9994-3F090E16014A}"/>
              </a:ext>
            </a:extLst>
          </p:cNvPr>
          <p:cNvSpPr>
            <a:spLocks noGrp="1"/>
          </p:cNvSpPr>
          <p:nvPr>
            <p:ph type="ftr" sz="quarter" idx="12"/>
          </p:nvPr>
        </p:nvSpPr>
        <p:spPr/>
        <p:txBody>
          <a:bodyPr/>
          <a:lstStyle/>
          <a:p>
            <a:endParaRPr lang="en-US"/>
          </a:p>
        </p:txBody>
      </p:sp>
      <p:sp>
        <p:nvSpPr>
          <p:cNvPr id="10" name="Slide Number Placeholder 9">
            <a:extLst>
              <a:ext uri="{FF2B5EF4-FFF2-40B4-BE49-F238E27FC236}">
                <a16:creationId xmlns:a16="http://schemas.microsoft.com/office/drawing/2014/main" id="{4D8B2323-066D-4AC1-9FC8-A06D7E8B5818}"/>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8" name="Title 1">
            <a:extLst>
              <a:ext uri="{FF2B5EF4-FFF2-40B4-BE49-F238E27FC236}">
                <a16:creationId xmlns:a16="http://schemas.microsoft.com/office/drawing/2014/main" id="{F30A9B71-A789-4057-B729-15D78CF34E05}"/>
              </a:ext>
            </a:extLst>
          </p:cNvPr>
          <p:cNvSpPr>
            <a:spLocks noGrp="1"/>
          </p:cNvSpPr>
          <p:nvPr>
            <p:ph type="ctrTitle" hasCustomPrompt="1"/>
          </p:nvPr>
        </p:nvSpPr>
        <p:spPr>
          <a:xfrm>
            <a:off x="355601" y="3263898"/>
            <a:ext cx="4840085" cy="1626013"/>
          </a:xfrm>
          <a:gradFill>
            <a:gsLst>
              <a:gs pos="31860">
                <a:schemeClr val="bg1">
                  <a:alpha val="90000"/>
                </a:schemeClr>
              </a:gs>
              <a:gs pos="0">
                <a:schemeClr val="accent1">
                  <a:lumMod val="20000"/>
                  <a:lumOff val="80000"/>
                  <a:alpha val="50000"/>
                </a:schemeClr>
              </a:gs>
              <a:gs pos="59000">
                <a:schemeClr val="bg1"/>
              </a:gs>
            </a:gsLst>
            <a:lin ang="3600000" scaled="0"/>
          </a:gradFill>
        </p:spPr>
        <p:txBody>
          <a:bodyPr lIns="72000" rIns="180000" bIns="180000" anchor="b"/>
          <a:lstStyle>
            <a:lvl1pPr algn="r">
              <a:lnSpc>
                <a:spcPts val="4700"/>
              </a:lnSpc>
              <a:defRPr sz="4500">
                <a:solidFill>
                  <a:schemeClr val="tx1"/>
                </a:solidFill>
              </a:defRPr>
            </a:lvl1pPr>
          </a:lstStyle>
          <a:p>
            <a:r>
              <a:rPr lang="en-US" noProof="0"/>
              <a:t>Click to edit presentation title</a:t>
            </a:r>
          </a:p>
        </p:txBody>
      </p:sp>
      <p:sp>
        <p:nvSpPr>
          <p:cNvPr id="11" name="Subtitle 2">
            <a:extLst>
              <a:ext uri="{FF2B5EF4-FFF2-40B4-BE49-F238E27FC236}">
                <a16:creationId xmlns:a16="http://schemas.microsoft.com/office/drawing/2014/main" id="{499E1708-B7A6-4D6F-9968-5398B335FA88}"/>
              </a:ext>
            </a:extLst>
          </p:cNvPr>
          <p:cNvSpPr>
            <a:spLocks noGrp="1"/>
          </p:cNvSpPr>
          <p:nvPr>
            <p:ph type="subTitle" idx="1"/>
          </p:nvPr>
        </p:nvSpPr>
        <p:spPr>
          <a:xfrm>
            <a:off x="355601" y="4889912"/>
            <a:ext cx="4840085" cy="816075"/>
          </a:xfrm>
          <a:solidFill>
            <a:schemeClr val="bg1">
              <a:alpha val="80000"/>
            </a:schemeClr>
          </a:solidFill>
          <a:ln w="3175">
            <a:gradFill>
              <a:gsLst>
                <a:gs pos="0">
                  <a:schemeClr val="bg1">
                    <a:lumMod val="95000"/>
                  </a:schemeClr>
                </a:gs>
                <a:gs pos="100000">
                  <a:schemeClr val="accent1"/>
                </a:gs>
              </a:gsLst>
              <a:lin ang="0" scaled="0"/>
            </a:gradFill>
          </a:ln>
        </p:spPr>
        <p:txBody>
          <a:bodyPr tIns="144000" rIns="180000"/>
          <a:lstStyle>
            <a:lvl1pPr marL="0" indent="0" algn="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3" name="Rectangle 12">
            <a:extLst>
              <a:ext uri="{FF2B5EF4-FFF2-40B4-BE49-F238E27FC236}">
                <a16:creationId xmlns:a16="http://schemas.microsoft.com/office/drawing/2014/main" id="{7ED035E7-67A7-4383-9EB7-21ADB27A11A9}"/>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3074799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with Subtitle">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E4633398-8EC3-417B-BEA6-101D8F224678}"/>
              </a:ext>
            </a:extLst>
          </p:cNvPr>
          <p:cNvSpPr>
            <a:spLocks noGrp="1"/>
          </p:cNvSpPr>
          <p:nvPr>
            <p:ph type="body" sz="quarter" idx="32" hasCustomPrompt="1"/>
          </p:nvPr>
        </p:nvSpPr>
        <p:spPr>
          <a:xfrm>
            <a:off x="431800" y="1008000"/>
            <a:ext cx="11339513" cy="360000"/>
          </a:xfrm>
        </p:spPr>
        <p:txBody>
          <a:bodyPr/>
          <a:lstStyle>
            <a:lvl1pPr marL="0" indent="0">
              <a:buNone/>
              <a:defRPr>
                <a:solidFill>
                  <a:schemeClr val="tx1">
                    <a:lumMod val="75000"/>
                    <a:lumOff val="25000"/>
                  </a:schemeClr>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mparison Left Placeholder 1">
            <a:extLst>
              <a:ext uri="{FF2B5EF4-FFF2-40B4-BE49-F238E27FC236}">
                <a16:creationId xmlns:a16="http://schemas.microsoft.com/office/drawing/2014/main" id="{9322B50D-6A7D-41C6-BA57-613BC231DF36}"/>
              </a:ext>
            </a:extLst>
          </p:cNvPr>
          <p:cNvSpPr>
            <a:spLocks noGrp="1"/>
          </p:cNvSpPr>
          <p:nvPr>
            <p:ph type="body" idx="1"/>
          </p:nvPr>
        </p:nvSpPr>
        <p:spPr>
          <a:xfrm>
            <a:off x="432000" y="1515834"/>
            <a:ext cx="5472000" cy="360000"/>
          </a:xfrm>
        </p:spPr>
        <p:txBody>
          <a:bodyPr anchor="t"/>
          <a:lstStyle>
            <a:lvl1pPr marL="0" indent="0">
              <a:buNone/>
              <a:defRPr sz="2400" b="0">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4" name="Content Placeholder 2">
            <a:extLst>
              <a:ext uri="{FF2B5EF4-FFF2-40B4-BE49-F238E27FC236}">
                <a16:creationId xmlns:a16="http://schemas.microsoft.com/office/drawing/2014/main" id="{9FD584DA-F775-47B8-A1D7-6556AD5FCBD2}"/>
              </a:ext>
            </a:extLst>
          </p:cNvPr>
          <p:cNvSpPr>
            <a:spLocks noGrp="1"/>
          </p:cNvSpPr>
          <p:nvPr>
            <p:ph sz="half" idx="2"/>
          </p:nvPr>
        </p:nvSpPr>
        <p:spPr>
          <a:xfrm>
            <a:off x="432000" y="2023668"/>
            <a:ext cx="5472000" cy="4168332"/>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mparison Left Placeholder 2">
            <a:extLst>
              <a:ext uri="{FF2B5EF4-FFF2-40B4-BE49-F238E27FC236}">
                <a16:creationId xmlns:a16="http://schemas.microsoft.com/office/drawing/2014/main" id="{78A963F8-6F6E-440E-B3B3-DDE13C083A36}"/>
              </a:ext>
            </a:extLst>
          </p:cNvPr>
          <p:cNvSpPr>
            <a:spLocks noGrp="1"/>
          </p:cNvSpPr>
          <p:nvPr>
            <p:ph type="body" sz="quarter" idx="13"/>
          </p:nvPr>
        </p:nvSpPr>
        <p:spPr>
          <a:xfrm>
            <a:off x="6300000" y="1516359"/>
            <a:ext cx="5472000" cy="358775"/>
          </a:xfrm>
        </p:spPr>
        <p:txBody>
          <a:bodyPr/>
          <a:lstStyle>
            <a:lvl1pPr marL="0" indent="0">
              <a:buNone/>
              <a:defRPr sz="2400" b="0">
                <a:solidFill>
                  <a:schemeClr val="tx1">
                    <a:lumMod val="75000"/>
                    <a:lumOff val="25000"/>
                  </a:schemeClr>
                </a:solidFill>
                <a:latin typeface="+mj-lt"/>
              </a:defRPr>
            </a:lvl1pPr>
          </a:lstStyle>
          <a:p>
            <a:pPr lvl="0"/>
            <a:r>
              <a:rPr lang="en-US" noProof="0"/>
              <a:t>Edit Master text styles</a:t>
            </a:r>
          </a:p>
        </p:txBody>
      </p:sp>
      <p:sp>
        <p:nvSpPr>
          <p:cNvPr id="8" name="Text Placeholder 4">
            <a:extLst>
              <a:ext uri="{FF2B5EF4-FFF2-40B4-BE49-F238E27FC236}">
                <a16:creationId xmlns:a16="http://schemas.microsoft.com/office/drawing/2014/main" id="{DF0A5256-B267-47DA-858A-0F3867CB6139}"/>
              </a:ext>
            </a:extLst>
          </p:cNvPr>
          <p:cNvSpPr>
            <a:spLocks noGrp="1"/>
          </p:cNvSpPr>
          <p:nvPr>
            <p:ph type="body" sz="quarter" idx="12"/>
          </p:nvPr>
        </p:nvSpPr>
        <p:spPr>
          <a:xfrm>
            <a:off x="6299887" y="2020359"/>
            <a:ext cx="5472113" cy="4170891"/>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p:txBody>
          <a:bodyPr/>
          <a:lstStyle/>
          <a:p>
            <a:endParaRPr lang="en-US"/>
          </a:p>
        </p:txBody>
      </p:sp>
      <p:sp>
        <p:nvSpPr>
          <p:cNvPr id="6" name="Slide Number Placeholder 5">
            <a:extLst>
              <a:ext uri="{FF2B5EF4-FFF2-40B4-BE49-F238E27FC236}">
                <a16:creationId xmlns:a16="http://schemas.microsoft.com/office/drawing/2014/main" id="{8E8FD215-79E5-48E4-95DB-2C5E5A1F8E8F}"/>
              </a:ext>
            </a:extLst>
          </p:cNvPr>
          <p:cNvSpPr>
            <a:spLocks noGrp="1"/>
          </p:cNvSpPr>
          <p:nvPr>
            <p:ph type="sldNum" sz="quarter" idx="33"/>
          </p:nvPr>
        </p:nvSpPr>
        <p:spPr/>
        <p:txBody>
          <a:bodyPr/>
          <a:lstStyle/>
          <a:p>
            <a:fld id="{330EA680-D336-4FF7-8B7A-9848BB0A1C32}" type="slidenum">
              <a:rPr lang="en-US" smtClean="0"/>
              <a:t>‹#›</a:t>
            </a:fld>
            <a:endParaRPr lang="en-US"/>
          </a:p>
        </p:txBody>
      </p:sp>
      <p:sp>
        <p:nvSpPr>
          <p:cNvPr id="7" name="Title 6">
            <a:extLst>
              <a:ext uri="{FF2B5EF4-FFF2-40B4-BE49-F238E27FC236}">
                <a16:creationId xmlns:a16="http://schemas.microsoft.com/office/drawing/2014/main" id="{DF905B34-4C18-4A8D-8167-57B7BF03DE14}"/>
              </a:ext>
            </a:extLst>
          </p:cNvPr>
          <p:cNvSpPr>
            <a:spLocks noGrp="1"/>
          </p:cNvSpPr>
          <p:nvPr>
            <p:ph type="title"/>
          </p:nvPr>
        </p:nvSpPr>
        <p:spPr/>
        <p:txBody>
          <a:bodyPr/>
          <a:lstStyle/>
          <a:p>
            <a:r>
              <a:rPr lang="en-US" noProof="0"/>
              <a:t>Click to edit Master title style</a:t>
            </a:r>
          </a:p>
        </p:txBody>
      </p:sp>
      <p:sp>
        <p:nvSpPr>
          <p:cNvPr id="10" name="Rectangle 9">
            <a:extLst>
              <a:ext uri="{FF2B5EF4-FFF2-40B4-BE49-F238E27FC236}">
                <a16:creationId xmlns:a16="http://schemas.microsoft.com/office/drawing/2014/main" id="{A7BAFA57-A073-4F77-BD4B-B838F52BE40C}"/>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129584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rge Photo">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DA3C530-12F9-48FC-BC5E-D34BDC504BC6}"/>
              </a:ext>
            </a:extLst>
          </p:cNvPr>
          <p:cNvSpPr>
            <a:spLocks noGrp="1"/>
          </p:cNvSpPr>
          <p:nvPr>
            <p:ph type="pic" sz="quarter" idx="16" hasCustomPrompt="1"/>
          </p:nvPr>
        </p:nvSpPr>
        <p:spPr>
          <a:xfrm>
            <a:off x="144000" y="143999"/>
            <a:ext cx="11905200" cy="6047999"/>
          </a:xfrm>
          <a:solidFill>
            <a:schemeClr val="bg1">
              <a:lumMod val="95000"/>
            </a:schemeClr>
          </a:solidFill>
        </p:spPr>
        <p:txBody>
          <a:bodyPr lIns="0" rIns="0" anchor="ctr"/>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mp; Drop your photo</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hasCustomPrompt="1"/>
          </p:nvPr>
        </p:nvSpPr>
        <p:spPr>
          <a:xfrm>
            <a:off x="664900" y="4910452"/>
            <a:ext cx="4101900" cy="773546"/>
          </a:xfrm>
          <a:solidFill>
            <a:schemeClr val="tx1"/>
          </a:solidFill>
        </p:spPr>
        <p:txBody>
          <a:bodyPr lIns="180000" tIns="72000" rIns="180000" anchor="t"/>
          <a:lstStyle>
            <a:lvl1pPr marL="0" indent="0">
              <a:buNone/>
              <a:defRPr>
                <a:solidFill>
                  <a:schemeClr val="bg1"/>
                </a:solidFill>
                <a:latin typeface="+mj-lt"/>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nter your caption</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endParaRPr lang="en-US"/>
          </a:p>
        </p:txBody>
      </p:sp>
      <p:sp>
        <p:nvSpPr>
          <p:cNvPr id="2" name="Slide Number Placeholder 1">
            <a:extLst>
              <a:ext uri="{FF2B5EF4-FFF2-40B4-BE49-F238E27FC236}">
                <a16:creationId xmlns:a16="http://schemas.microsoft.com/office/drawing/2014/main" id="{3EC14527-4DF5-4A98-AE66-C80F3B8E6D2E}"/>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5" name="Title 4">
            <a:extLst>
              <a:ext uri="{FF2B5EF4-FFF2-40B4-BE49-F238E27FC236}">
                <a16:creationId xmlns:a16="http://schemas.microsoft.com/office/drawing/2014/main" id="{878C031A-1E1B-4E18-9052-CA663975447C}"/>
              </a:ext>
            </a:extLst>
          </p:cNvPr>
          <p:cNvSpPr>
            <a:spLocks noGrp="1"/>
          </p:cNvSpPr>
          <p:nvPr>
            <p:ph type="title"/>
          </p:nvPr>
        </p:nvSpPr>
        <p:spPr/>
        <p:txBody>
          <a:bodyPr/>
          <a:lstStyle/>
          <a:p>
            <a:r>
              <a:rPr lang="en-US" noProof="0"/>
              <a:t>Click to edit Master title style</a:t>
            </a:r>
          </a:p>
        </p:txBody>
      </p:sp>
      <p:sp>
        <p:nvSpPr>
          <p:cNvPr id="7" name="Rectangle 6">
            <a:extLst>
              <a:ext uri="{FF2B5EF4-FFF2-40B4-BE49-F238E27FC236}">
                <a16:creationId xmlns:a16="http://schemas.microsoft.com/office/drawing/2014/main" id="{36C69652-C753-4D16-BE2E-8C6B9DFED9D1}"/>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7322989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hank You Slide">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837F9836-5B23-424D-8C60-AC02A8512A4B}"/>
              </a:ext>
            </a:extLst>
          </p:cNvPr>
          <p:cNvSpPr>
            <a:spLocks noGrp="1"/>
          </p:cNvSpPr>
          <p:nvPr>
            <p:ph type="pic" sz="quarter" idx="13" hasCustomPrompt="1"/>
          </p:nvPr>
        </p:nvSpPr>
        <p:spPr>
          <a:xfrm>
            <a:off x="144000" y="144000"/>
            <a:ext cx="11905200" cy="6570000"/>
          </a:xfrm>
          <a:solidFill>
            <a:schemeClr val="bg1">
              <a:lumMod val="95000"/>
            </a:schemeClr>
          </a:solidFill>
        </p:spPr>
        <p:txBody>
          <a:bodyPr lIns="1764000" rIns="0" anchor="ctr"/>
          <a:lstStyle>
            <a:lvl1pPr marL="0" indent="0" algn="l">
              <a:buNone/>
              <a:defRPr sz="1200" i="1">
                <a:latin typeface="Times New Roman" panose="02020603050405020304" pitchFamily="18" charset="0"/>
                <a:cs typeface="Times New Roman" panose="02020603050405020304" pitchFamily="18" charset="0"/>
              </a:defRPr>
            </a:lvl1pPr>
          </a:lstStyle>
          <a:p>
            <a:r>
              <a:rPr lang="en-US" noProof="0" dirty="0"/>
              <a:t>Insert or Drag &amp; Drop your photo</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7415412" y="360000"/>
            <a:ext cx="4416588" cy="4716572"/>
          </a:xfrm>
          <a:gradFill>
            <a:gsLst>
              <a:gs pos="46000">
                <a:schemeClr val="bg1">
                  <a:alpha val="90000"/>
                </a:schemeClr>
              </a:gs>
              <a:gs pos="0">
                <a:schemeClr val="accent1">
                  <a:lumMod val="20000"/>
                  <a:lumOff val="80000"/>
                  <a:alpha val="50000"/>
                </a:schemeClr>
              </a:gs>
              <a:gs pos="80000">
                <a:schemeClr val="bg1"/>
              </a:gs>
            </a:gsLst>
            <a:lin ang="3600000" scaled="0"/>
          </a:gradFill>
        </p:spPr>
        <p:txBody>
          <a:bodyPr lIns="72000" rIns="180000" bIns="180000" anchor="b"/>
          <a:lstStyle>
            <a:lvl1pPr algn="r">
              <a:lnSpc>
                <a:spcPts val="4700"/>
              </a:lnSpc>
              <a:defRPr sz="4500">
                <a:solidFill>
                  <a:schemeClr val="tx1"/>
                </a:solidFill>
              </a:defRPr>
            </a:lvl1pPr>
          </a:lstStyle>
          <a:p>
            <a:r>
              <a:rPr lang="en-US" noProof="0"/>
              <a:t>Thank You</a:t>
            </a:r>
          </a:p>
        </p:txBody>
      </p:sp>
      <p:sp>
        <p:nvSpPr>
          <p:cNvPr id="3" name="Text Placeholder 5">
            <a:extLst>
              <a:ext uri="{FF2B5EF4-FFF2-40B4-BE49-F238E27FC236}">
                <a16:creationId xmlns:a16="http://schemas.microsoft.com/office/drawing/2014/main" id="{C9980B88-3F4A-4688-9ED0-17EF37E62D93}"/>
              </a:ext>
            </a:extLst>
          </p:cNvPr>
          <p:cNvSpPr>
            <a:spLocks noGrp="1"/>
          </p:cNvSpPr>
          <p:nvPr>
            <p:ph type="subTitle" idx="1" hasCustomPrompt="1"/>
          </p:nvPr>
        </p:nvSpPr>
        <p:spPr>
          <a:xfrm>
            <a:off x="7415413" y="5076572"/>
            <a:ext cx="4416587" cy="1421429"/>
          </a:xfrm>
          <a:solidFill>
            <a:schemeClr val="bg1">
              <a:alpha val="80000"/>
            </a:schemeClr>
          </a:solidFill>
          <a:ln w="3175">
            <a:gradFill>
              <a:gsLst>
                <a:gs pos="0">
                  <a:schemeClr val="bg1">
                    <a:lumMod val="95000"/>
                  </a:schemeClr>
                </a:gs>
                <a:gs pos="100000">
                  <a:schemeClr val="accent1"/>
                </a:gs>
              </a:gsLst>
              <a:lin ang="0" scaled="0"/>
            </a:gradFill>
          </a:ln>
        </p:spPr>
        <p:txBody>
          <a:bodyPr tIns="144000" rIns="468000"/>
          <a:lstStyle>
            <a:lvl1pPr marL="0" indent="0" algn="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Full Name</a:t>
            </a:r>
          </a:p>
        </p:txBody>
      </p:sp>
      <p:sp>
        <p:nvSpPr>
          <p:cNvPr id="20" name="Text Placeholder 6">
            <a:extLst>
              <a:ext uri="{FF2B5EF4-FFF2-40B4-BE49-F238E27FC236}">
                <a16:creationId xmlns:a16="http://schemas.microsoft.com/office/drawing/2014/main" id="{CEB7A85F-8707-4B62-B299-F53931B8617A}"/>
              </a:ext>
            </a:extLst>
          </p:cNvPr>
          <p:cNvSpPr>
            <a:spLocks noGrp="1"/>
          </p:cNvSpPr>
          <p:nvPr>
            <p:ph type="body" sz="quarter" idx="16" hasCustomPrompt="1"/>
          </p:nvPr>
        </p:nvSpPr>
        <p:spPr>
          <a:xfrm>
            <a:off x="7948708" y="5540135"/>
            <a:ext cx="3396887" cy="196707"/>
          </a:xfrm>
        </p:spPr>
        <p:txBody>
          <a:bodyPr/>
          <a:lstStyle>
            <a:lvl1pPr marL="0" indent="0" algn="r">
              <a:buNone/>
              <a:defRPr sz="1400">
                <a:solidFill>
                  <a:schemeClr val="tx1">
                    <a:lumMod val="75000"/>
                    <a:lumOff val="25000"/>
                  </a:schemeClr>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Phone Number</a:t>
            </a:r>
          </a:p>
        </p:txBody>
      </p:sp>
      <p:sp>
        <p:nvSpPr>
          <p:cNvPr id="21" name="Text Placeholder 7">
            <a:extLst>
              <a:ext uri="{FF2B5EF4-FFF2-40B4-BE49-F238E27FC236}">
                <a16:creationId xmlns:a16="http://schemas.microsoft.com/office/drawing/2014/main" id="{BA4C7E3C-7C17-46E9-928A-D3D505EEAAE5}"/>
              </a:ext>
            </a:extLst>
          </p:cNvPr>
          <p:cNvSpPr>
            <a:spLocks noGrp="1"/>
          </p:cNvSpPr>
          <p:nvPr>
            <p:ph type="body" sz="quarter" idx="17" hasCustomPrompt="1"/>
          </p:nvPr>
        </p:nvSpPr>
        <p:spPr>
          <a:xfrm>
            <a:off x="7948708" y="5809779"/>
            <a:ext cx="3396887" cy="196707"/>
          </a:xfrm>
        </p:spPr>
        <p:txBody>
          <a:bodyPr/>
          <a:lstStyle>
            <a:lvl1pPr marL="0" indent="0" algn="r">
              <a:buNone/>
              <a:defRPr sz="1400">
                <a:solidFill>
                  <a:schemeClr val="tx1">
                    <a:lumMod val="75000"/>
                    <a:lumOff val="25000"/>
                  </a:schemeClr>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Email or Social Media Handle</a:t>
            </a:r>
          </a:p>
        </p:txBody>
      </p:sp>
      <p:sp>
        <p:nvSpPr>
          <p:cNvPr id="22" name="Text Placeholder 8">
            <a:extLst>
              <a:ext uri="{FF2B5EF4-FFF2-40B4-BE49-F238E27FC236}">
                <a16:creationId xmlns:a16="http://schemas.microsoft.com/office/drawing/2014/main" id="{6ADD6EB2-7D8E-4991-87A6-02723731EBE1}"/>
              </a:ext>
            </a:extLst>
          </p:cNvPr>
          <p:cNvSpPr>
            <a:spLocks noGrp="1"/>
          </p:cNvSpPr>
          <p:nvPr>
            <p:ph type="body" sz="quarter" idx="18" hasCustomPrompt="1"/>
          </p:nvPr>
        </p:nvSpPr>
        <p:spPr>
          <a:xfrm>
            <a:off x="7948708" y="6079423"/>
            <a:ext cx="3396887" cy="196707"/>
          </a:xfrm>
        </p:spPr>
        <p:txBody>
          <a:bodyPr/>
          <a:lstStyle>
            <a:lvl1pPr marL="0" indent="0" algn="r">
              <a:buNone/>
              <a:defRPr sz="1400">
                <a:solidFill>
                  <a:schemeClr val="tx1">
                    <a:lumMod val="75000"/>
                    <a:lumOff val="25000"/>
                  </a:schemeClr>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Company Website</a:t>
            </a:r>
          </a:p>
        </p:txBody>
      </p:sp>
      <p:sp>
        <p:nvSpPr>
          <p:cNvPr id="7" name="Rectangle 6">
            <a:extLst>
              <a:ext uri="{FF2B5EF4-FFF2-40B4-BE49-F238E27FC236}">
                <a16:creationId xmlns:a16="http://schemas.microsoft.com/office/drawing/2014/main" id="{DBE77267-9F51-4226-989C-ED57465596ED}"/>
              </a:ext>
            </a:extLst>
          </p:cNvPr>
          <p:cNvSpPr/>
          <p:nvPr/>
        </p:nvSpPr>
        <p:spPr>
          <a:xfrm>
            <a:off x="0" y="6714000"/>
            <a:ext cx="12192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Rectangle 7">
            <a:extLst>
              <a:ext uri="{FF2B5EF4-FFF2-40B4-BE49-F238E27FC236}">
                <a16:creationId xmlns:a16="http://schemas.microsoft.com/office/drawing/2014/main" id="{0A2CC678-341F-44F8-AE2E-A6C84D75C56A}"/>
              </a:ext>
            </a:extLst>
          </p:cNvPr>
          <p:cNvSpPr/>
          <p:nvPr/>
        </p:nvSpPr>
        <p:spPr>
          <a:xfrm>
            <a:off x="0" y="0"/>
            <a:ext cx="12192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Rectangle 10">
            <a:extLst>
              <a:ext uri="{FF2B5EF4-FFF2-40B4-BE49-F238E27FC236}">
                <a16:creationId xmlns:a16="http://schemas.microsoft.com/office/drawing/2014/main" id="{A87A001A-FE8B-41CE-AC81-69D4A2339087}"/>
              </a:ext>
            </a:extLst>
          </p:cNvPr>
          <p:cNvSpPr/>
          <p:nvPr/>
        </p:nvSpPr>
        <p:spPr>
          <a:xfrm>
            <a:off x="0" y="92074"/>
            <a:ext cx="144000" cy="66294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Rectangle 11">
            <a:extLst>
              <a:ext uri="{FF2B5EF4-FFF2-40B4-BE49-F238E27FC236}">
                <a16:creationId xmlns:a16="http://schemas.microsoft.com/office/drawing/2014/main" id="{CB1416AC-94BD-4442-B771-E1ACAA70367E}"/>
              </a:ext>
            </a:extLst>
          </p:cNvPr>
          <p:cNvSpPr/>
          <p:nvPr/>
        </p:nvSpPr>
        <p:spPr>
          <a:xfrm>
            <a:off x="12048000" y="92074"/>
            <a:ext cx="144000" cy="66294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Freeform: Shape 12">
            <a:extLst>
              <a:ext uri="{FF2B5EF4-FFF2-40B4-BE49-F238E27FC236}">
                <a16:creationId xmlns:a16="http://schemas.microsoft.com/office/drawing/2014/main" id="{BDB31DC4-A207-4A23-8E7A-40D0ECD04FDD}"/>
              </a:ext>
            </a:extLst>
          </p:cNvPr>
          <p:cNvSpPr/>
          <p:nvPr/>
        </p:nvSpPr>
        <p:spPr>
          <a:xfrm>
            <a:off x="0" y="0"/>
            <a:ext cx="12192000" cy="6858000"/>
          </a:xfrm>
          <a:custGeom>
            <a:avLst/>
            <a:gdLst>
              <a:gd name="connsiteX0" fmla="*/ 36000 w 12192000"/>
              <a:gd name="connsiteY0" fmla="*/ 36000 h 6858000"/>
              <a:gd name="connsiteX1" fmla="*/ 36000 w 12192000"/>
              <a:gd name="connsiteY1" fmla="*/ 6822000 h 6858000"/>
              <a:gd name="connsiteX2" fmla="*/ 12156000 w 12192000"/>
              <a:gd name="connsiteY2" fmla="*/ 6822000 h 6858000"/>
              <a:gd name="connsiteX3" fmla="*/ 12156000 w 12192000"/>
              <a:gd name="connsiteY3" fmla="*/ 36000 h 6858000"/>
              <a:gd name="connsiteX4" fmla="*/ 0 w 12192000"/>
              <a:gd name="connsiteY4" fmla="*/ 0 h 6858000"/>
              <a:gd name="connsiteX5" fmla="*/ 36000 w 12192000"/>
              <a:gd name="connsiteY5" fmla="*/ 0 h 6858000"/>
              <a:gd name="connsiteX6" fmla="*/ 12156000 w 12192000"/>
              <a:gd name="connsiteY6" fmla="*/ 0 h 6858000"/>
              <a:gd name="connsiteX7" fmla="*/ 12192000 w 12192000"/>
              <a:gd name="connsiteY7" fmla="*/ 0 h 6858000"/>
              <a:gd name="connsiteX8" fmla="*/ 12192000 w 12192000"/>
              <a:gd name="connsiteY8" fmla="*/ 36000 h 6858000"/>
              <a:gd name="connsiteX9" fmla="*/ 12192000 w 12192000"/>
              <a:gd name="connsiteY9" fmla="*/ 6822000 h 6858000"/>
              <a:gd name="connsiteX10" fmla="*/ 12192000 w 12192000"/>
              <a:gd name="connsiteY10" fmla="*/ 6858000 h 6858000"/>
              <a:gd name="connsiteX11" fmla="*/ 12156000 w 12192000"/>
              <a:gd name="connsiteY11" fmla="*/ 6858000 h 6858000"/>
              <a:gd name="connsiteX12" fmla="*/ 36000 w 12192000"/>
              <a:gd name="connsiteY12" fmla="*/ 6858000 h 6858000"/>
              <a:gd name="connsiteX13" fmla="*/ 0 w 12192000"/>
              <a:gd name="connsiteY13" fmla="*/ 6858000 h 6858000"/>
              <a:gd name="connsiteX14" fmla="*/ 0 w 12192000"/>
              <a:gd name="connsiteY14" fmla="*/ 6822000 h 6858000"/>
              <a:gd name="connsiteX15" fmla="*/ 0 w 12192000"/>
              <a:gd name="connsiteY15" fmla="*/ 3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36000" y="36000"/>
                </a:moveTo>
                <a:lnTo>
                  <a:pt x="36000" y="6822000"/>
                </a:lnTo>
                <a:lnTo>
                  <a:pt x="12156000" y="6822000"/>
                </a:lnTo>
                <a:lnTo>
                  <a:pt x="12156000" y="36000"/>
                </a:lnTo>
                <a:close/>
                <a:moveTo>
                  <a:pt x="0" y="0"/>
                </a:moveTo>
                <a:lnTo>
                  <a:pt x="36000" y="0"/>
                </a:lnTo>
                <a:lnTo>
                  <a:pt x="12156000" y="0"/>
                </a:lnTo>
                <a:lnTo>
                  <a:pt x="12192000" y="0"/>
                </a:lnTo>
                <a:lnTo>
                  <a:pt x="12192000" y="36000"/>
                </a:lnTo>
                <a:lnTo>
                  <a:pt x="12192000" y="6822000"/>
                </a:lnTo>
                <a:lnTo>
                  <a:pt x="12192000" y="6858000"/>
                </a:lnTo>
                <a:lnTo>
                  <a:pt x="12156000" y="6858000"/>
                </a:lnTo>
                <a:lnTo>
                  <a:pt x="36000" y="6858000"/>
                </a:lnTo>
                <a:lnTo>
                  <a:pt x="0" y="6858000"/>
                </a:lnTo>
                <a:lnTo>
                  <a:pt x="0" y="6822000"/>
                </a:lnTo>
                <a:lnTo>
                  <a:pt x="0" y="3600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14" name="Rectangle 13">
            <a:extLst>
              <a:ext uri="{FF2B5EF4-FFF2-40B4-BE49-F238E27FC236}">
                <a16:creationId xmlns:a16="http://schemas.microsoft.com/office/drawing/2014/main" id="{FC5D8FA6-5D05-4206-A2B7-7975421191EE}"/>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994208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BE77267-9F51-4226-989C-ED57465596ED}"/>
              </a:ext>
            </a:extLst>
          </p:cNvPr>
          <p:cNvSpPr/>
          <p:nvPr/>
        </p:nvSpPr>
        <p:spPr>
          <a:xfrm>
            <a:off x="0" y="6714000"/>
            <a:ext cx="12192000" cy="1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Rectangle 7">
            <a:extLst>
              <a:ext uri="{FF2B5EF4-FFF2-40B4-BE49-F238E27FC236}">
                <a16:creationId xmlns:a16="http://schemas.microsoft.com/office/drawing/2014/main" id="{0A2CC678-341F-44F8-AE2E-A6C84D75C56A}"/>
              </a:ext>
            </a:extLst>
          </p:cNvPr>
          <p:cNvSpPr/>
          <p:nvPr/>
        </p:nvSpPr>
        <p:spPr>
          <a:xfrm>
            <a:off x="0" y="0"/>
            <a:ext cx="12192000" cy="1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Rectangle 10">
            <a:extLst>
              <a:ext uri="{FF2B5EF4-FFF2-40B4-BE49-F238E27FC236}">
                <a16:creationId xmlns:a16="http://schemas.microsoft.com/office/drawing/2014/main" id="{A87A001A-FE8B-41CE-AC81-69D4A2339087}"/>
              </a:ext>
            </a:extLst>
          </p:cNvPr>
          <p:cNvSpPr/>
          <p:nvPr/>
        </p:nvSpPr>
        <p:spPr>
          <a:xfrm>
            <a:off x="0" y="92074"/>
            <a:ext cx="144000" cy="6629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Rectangle 11">
            <a:extLst>
              <a:ext uri="{FF2B5EF4-FFF2-40B4-BE49-F238E27FC236}">
                <a16:creationId xmlns:a16="http://schemas.microsoft.com/office/drawing/2014/main" id="{CB1416AC-94BD-4442-B771-E1ACAA70367E}"/>
              </a:ext>
            </a:extLst>
          </p:cNvPr>
          <p:cNvSpPr/>
          <p:nvPr/>
        </p:nvSpPr>
        <p:spPr>
          <a:xfrm>
            <a:off x="12048000" y="92074"/>
            <a:ext cx="144000" cy="6629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Freeform: Shape 12">
            <a:extLst>
              <a:ext uri="{FF2B5EF4-FFF2-40B4-BE49-F238E27FC236}">
                <a16:creationId xmlns:a16="http://schemas.microsoft.com/office/drawing/2014/main" id="{BDB31DC4-A207-4A23-8E7A-40D0ECD04FDD}"/>
              </a:ext>
            </a:extLst>
          </p:cNvPr>
          <p:cNvSpPr/>
          <p:nvPr/>
        </p:nvSpPr>
        <p:spPr>
          <a:xfrm>
            <a:off x="0" y="0"/>
            <a:ext cx="12192000" cy="6858000"/>
          </a:xfrm>
          <a:custGeom>
            <a:avLst/>
            <a:gdLst>
              <a:gd name="connsiteX0" fmla="*/ 36000 w 12192000"/>
              <a:gd name="connsiteY0" fmla="*/ 36000 h 6858000"/>
              <a:gd name="connsiteX1" fmla="*/ 36000 w 12192000"/>
              <a:gd name="connsiteY1" fmla="*/ 6822000 h 6858000"/>
              <a:gd name="connsiteX2" fmla="*/ 12156000 w 12192000"/>
              <a:gd name="connsiteY2" fmla="*/ 6822000 h 6858000"/>
              <a:gd name="connsiteX3" fmla="*/ 12156000 w 12192000"/>
              <a:gd name="connsiteY3" fmla="*/ 36000 h 6858000"/>
              <a:gd name="connsiteX4" fmla="*/ 0 w 12192000"/>
              <a:gd name="connsiteY4" fmla="*/ 0 h 6858000"/>
              <a:gd name="connsiteX5" fmla="*/ 36000 w 12192000"/>
              <a:gd name="connsiteY5" fmla="*/ 0 h 6858000"/>
              <a:gd name="connsiteX6" fmla="*/ 12156000 w 12192000"/>
              <a:gd name="connsiteY6" fmla="*/ 0 h 6858000"/>
              <a:gd name="connsiteX7" fmla="*/ 12192000 w 12192000"/>
              <a:gd name="connsiteY7" fmla="*/ 0 h 6858000"/>
              <a:gd name="connsiteX8" fmla="*/ 12192000 w 12192000"/>
              <a:gd name="connsiteY8" fmla="*/ 36000 h 6858000"/>
              <a:gd name="connsiteX9" fmla="*/ 12192000 w 12192000"/>
              <a:gd name="connsiteY9" fmla="*/ 6822000 h 6858000"/>
              <a:gd name="connsiteX10" fmla="*/ 12192000 w 12192000"/>
              <a:gd name="connsiteY10" fmla="*/ 6858000 h 6858000"/>
              <a:gd name="connsiteX11" fmla="*/ 12156000 w 12192000"/>
              <a:gd name="connsiteY11" fmla="*/ 6858000 h 6858000"/>
              <a:gd name="connsiteX12" fmla="*/ 36000 w 12192000"/>
              <a:gd name="connsiteY12" fmla="*/ 6858000 h 6858000"/>
              <a:gd name="connsiteX13" fmla="*/ 0 w 12192000"/>
              <a:gd name="connsiteY13" fmla="*/ 6858000 h 6858000"/>
              <a:gd name="connsiteX14" fmla="*/ 0 w 12192000"/>
              <a:gd name="connsiteY14" fmla="*/ 6822000 h 6858000"/>
              <a:gd name="connsiteX15" fmla="*/ 0 w 12192000"/>
              <a:gd name="connsiteY15" fmla="*/ 3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36000" y="36000"/>
                </a:moveTo>
                <a:lnTo>
                  <a:pt x="36000" y="6822000"/>
                </a:lnTo>
                <a:lnTo>
                  <a:pt x="12156000" y="6822000"/>
                </a:lnTo>
                <a:lnTo>
                  <a:pt x="12156000" y="36000"/>
                </a:lnTo>
                <a:close/>
                <a:moveTo>
                  <a:pt x="0" y="0"/>
                </a:moveTo>
                <a:lnTo>
                  <a:pt x="36000" y="0"/>
                </a:lnTo>
                <a:lnTo>
                  <a:pt x="12156000" y="0"/>
                </a:lnTo>
                <a:lnTo>
                  <a:pt x="12192000" y="0"/>
                </a:lnTo>
                <a:lnTo>
                  <a:pt x="12192000" y="36000"/>
                </a:lnTo>
                <a:lnTo>
                  <a:pt x="12192000" y="6822000"/>
                </a:lnTo>
                <a:lnTo>
                  <a:pt x="12192000" y="6858000"/>
                </a:lnTo>
                <a:lnTo>
                  <a:pt x="12156000" y="6858000"/>
                </a:lnTo>
                <a:lnTo>
                  <a:pt x="36000" y="6858000"/>
                </a:lnTo>
                <a:lnTo>
                  <a:pt x="0" y="6858000"/>
                </a:lnTo>
                <a:lnTo>
                  <a:pt x="0" y="6822000"/>
                </a:lnTo>
                <a:lnTo>
                  <a:pt x="0" y="3600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360000" y="359999"/>
            <a:ext cx="4416588" cy="5321927"/>
          </a:xfrm>
          <a:gradFill>
            <a:gsLst>
              <a:gs pos="46000">
                <a:schemeClr val="bg1">
                  <a:alpha val="90000"/>
                </a:schemeClr>
              </a:gs>
              <a:gs pos="0">
                <a:schemeClr val="accent1">
                  <a:lumMod val="20000"/>
                  <a:lumOff val="80000"/>
                  <a:alpha val="50000"/>
                </a:schemeClr>
              </a:gs>
              <a:gs pos="80000">
                <a:schemeClr val="bg1"/>
              </a:gs>
            </a:gsLst>
            <a:lin ang="3600000" scaled="0"/>
          </a:gradFill>
        </p:spPr>
        <p:txBody>
          <a:bodyPr lIns="72000" rIns="180000" bIns="180000" anchor="b"/>
          <a:lstStyle>
            <a:lvl1pPr algn="r">
              <a:lnSpc>
                <a:spcPts val="4700"/>
              </a:lnSpc>
              <a:defRPr sz="4500">
                <a:solidFill>
                  <a:schemeClr val="tx1"/>
                </a:solidFill>
              </a:defRPr>
            </a:lvl1pPr>
          </a:lstStyle>
          <a:p>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359999" y="5681926"/>
            <a:ext cx="4416587" cy="816075"/>
          </a:xfrm>
          <a:solidFill>
            <a:schemeClr val="bg1">
              <a:alpha val="80000"/>
            </a:schemeClr>
          </a:solidFill>
          <a:ln w="3175">
            <a:gradFill>
              <a:gsLst>
                <a:gs pos="0">
                  <a:schemeClr val="bg1"/>
                </a:gs>
                <a:gs pos="100000">
                  <a:schemeClr val="accent1"/>
                </a:gs>
              </a:gsLst>
              <a:lin ang="0" scaled="0"/>
            </a:gradFill>
          </a:ln>
        </p:spPr>
        <p:txBody>
          <a:bodyPr tIns="144000" rIns="180000"/>
          <a:lstStyle>
            <a:lvl1pPr marL="0" indent="0" algn="r">
              <a:buNone/>
              <a:defRPr sz="18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9" name="Rectangle 8">
            <a:extLst>
              <a:ext uri="{FF2B5EF4-FFF2-40B4-BE49-F238E27FC236}">
                <a16:creationId xmlns:a16="http://schemas.microsoft.com/office/drawing/2014/main" id="{54458D4C-0368-4682-9E32-EB03910B03AA}"/>
              </a:ext>
            </a:extLst>
          </p:cNvPr>
          <p:cNvSpPr/>
          <p:nvPr userDrawn="1"/>
        </p:nvSpPr>
        <p:spPr>
          <a:xfrm>
            <a:off x="8313" y="16624"/>
            <a:ext cx="12161519" cy="6808125"/>
          </a:xfrm>
          <a:prstGeom prst="rect">
            <a:avLst/>
          </a:prstGeom>
          <a:noFill/>
          <a:ln w="60325">
            <a:solidFill>
              <a:schemeClr val="bg1">
                <a:lumMod val="85000"/>
              </a:schemeClr>
            </a:solidFill>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Tree>
    <p:extLst>
      <p:ext uri="{BB962C8B-B14F-4D97-AF65-F5344CB8AC3E}">
        <p14:creationId xmlns:p14="http://schemas.microsoft.com/office/powerpoint/2010/main" val="25936016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6726F2C-157B-477E-AD76-8F54126834C2}"/>
              </a:ext>
            </a:extLst>
          </p:cNvPr>
          <p:cNvSpPr/>
          <p:nvPr/>
        </p:nvSpPr>
        <p:spPr>
          <a:xfrm>
            <a:off x="0" y="6191250"/>
            <a:ext cx="12192000" cy="666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a:extLst>
              <a:ext uri="{FF2B5EF4-FFF2-40B4-BE49-F238E27FC236}">
                <a16:creationId xmlns:a16="http://schemas.microsoft.com/office/drawing/2014/main" id="{090F41A2-6535-4CA6-81E4-026A5B56D9D7}"/>
              </a:ext>
            </a:extLst>
          </p:cNvPr>
          <p:cNvSpPr>
            <a:spLocks noGrp="1"/>
          </p:cNvSpPr>
          <p:nvPr>
            <p:ph type="title"/>
          </p:nvPr>
        </p:nvSpPr>
        <p:spPr>
          <a:xfrm>
            <a:off x="432000" y="432000"/>
            <a:ext cx="11340000" cy="432000"/>
          </a:xfrm>
          <a:prstGeom prst="rect">
            <a:avLst/>
          </a:prstGeom>
        </p:spPr>
        <p:txBody>
          <a:bodyPr vert="horz" lIns="0" tIns="0" rIns="0" bIns="0" rtlCol="0" anchor="ctr">
            <a:noAutofit/>
          </a:bodyPr>
          <a:lstStyle/>
          <a:p>
            <a:r>
              <a:rPr lang="en-US" noProof="0"/>
              <a:t>Click to edit page title</a:t>
            </a:r>
          </a:p>
        </p:txBody>
      </p:sp>
      <p:sp>
        <p:nvSpPr>
          <p:cNvPr id="3" name="Text Placeholder 2">
            <a:extLst>
              <a:ext uri="{FF2B5EF4-FFF2-40B4-BE49-F238E27FC236}">
                <a16:creationId xmlns:a16="http://schemas.microsoft.com/office/drawing/2014/main" id="{213AB95C-7DD4-4796-80E4-1B7466A2A037}"/>
              </a:ext>
            </a:extLst>
          </p:cNvPr>
          <p:cNvSpPr>
            <a:spLocks noGrp="1"/>
          </p:cNvSpPr>
          <p:nvPr>
            <p:ph type="body" idx="1"/>
          </p:nvPr>
        </p:nvSpPr>
        <p:spPr>
          <a:xfrm>
            <a:off x="432000" y="1512000"/>
            <a:ext cx="11340000" cy="437752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Rectangle 6">
            <a:extLst>
              <a:ext uri="{FF2B5EF4-FFF2-40B4-BE49-F238E27FC236}">
                <a16:creationId xmlns:a16="http://schemas.microsoft.com/office/drawing/2014/main" id="{474FB90F-5E6B-4508-96BB-939635D11AFF}"/>
              </a:ext>
            </a:extLst>
          </p:cNvPr>
          <p:cNvSpPr/>
          <p:nvPr/>
        </p:nvSpPr>
        <p:spPr>
          <a:xfrm>
            <a:off x="0" y="0"/>
            <a:ext cx="12192000" cy="1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Rectangle 8">
            <a:extLst>
              <a:ext uri="{FF2B5EF4-FFF2-40B4-BE49-F238E27FC236}">
                <a16:creationId xmlns:a16="http://schemas.microsoft.com/office/drawing/2014/main" id="{774A1CB7-B157-440C-BA82-A62890EF3721}"/>
              </a:ext>
            </a:extLst>
          </p:cNvPr>
          <p:cNvSpPr/>
          <p:nvPr/>
        </p:nvSpPr>
        <p:spPr>
          <a:xfrm>
            <a:off x="0" y="92074"/>
            <a:ext cx="144000" cy="6629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Rectangle 9">
            <a:extLst>
              <a:ext uri="{FF2B5EF4-FFF2-40B4-BE49-F238E27FC236}">
                <a16:creationId xmlns:a16="http://schemas.microsoft.com/office/drawing/2014/main" id="{EE5B1BAC-5CBE-4B0E-B0AA-1C05EBEE964E}"/>
              </a:ext>
            </a:extLst>
          </p:cNvPr>
          <p:cNvSpPr/>
          <p:nvPr/>
        </p:nvSpPr>
        <p:spPr>
          <a:xfrm>
            <a:off x="12048000" y="92074"/>
            <a:ext cx="144000" cy="6629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eform: Shape 17">
            <a:extLst>
              <a:ext uri="{FF2B5EF4-FFF2-40B4-BE49-F238E27FC236}">
                <a16:creationId xmlns:a16="http://schemas.microsoft.com/office/drawing/2014/main" id="{168BD16A-5998-4CCA-B0F2-62F67B639AFD}"/>
              </a:ext>
            </a:extLst>
          </p:cNvPr>
          <p:cNvSpPr/>
          <p:nvPr/>
        </p:nvSpPr>
        <p:spPr>
          <a:xfrm>
            <a:off x="0" y="0"/>
            <a:ext cx="12192000" cy="6858000"/>
          </a:xfrm>
          <a:custGeom>
            <a:avLst/>
            <a:gdLst>
              <a:gd name="connsiteX0" fmla="*/ 36000 w 12192000"/>
              <a:gd name="connsiteY0" fmla="*/ 36000 h 6858000"/>
              <a:gd name="connsiteX1" fmla="*/ 36000 w 12192000"/>
              <a:gd name="connsiteY1" fmla="*/ 6822000 h 6858000"/>
              <a:gd name="connsiteX2" fmla="*/ 12156000 w 12192000"/>
              <a:gd name="connsiteY2" fmla="*/ 6822000 h 6858000"/>
              <a:gd name="connsiteX3" fmla="*/ 12156000 w 12192000"/>
              <a:gd name="connsiteY3" fmla="*/ 36000 h 6858000"/>
              <a:gd name="connsiteX4" fmla="*/ 0 w 12192000"/>
              <a:gd name="connsiteY4" fmla="*/ 0 h 6858000"/>
              <a:gd name="connsiteX5" fmla="*/ 36000 w 12192000"/>
              <a:gd name="connsiteY5" fmla="*/ 0 h 6858000"/>
              <a:gd name="connsiteX6" fmla="*/ 12156000 w 12192000"/>
              <a:gd name="connsiteY6" fmla="*/ 0 h 6858000"/>
              <a:gd name="connsiteX7" fmla="*/ 12192000 w 12192000"/>
              <a:gd name="connsiteY7" fmla="*/ 0 h 6858000"/>
              <a:gd name="connsiteX8" fmla="*/ 12192000 w 12192000"/>
              <a:gd name="connsiteY8" fmla="*/ 36000 h 6858000"/>
              <a:gd name="connsiteX9" fmla="*/ 12192000 w 12192000"/>
              <a:gd name="connsiteY9" fmla="*/ 6822000 h 6858000"/>
              <a:gd name="connsiteX10" fmla="*/ 12192000 w 12192000"/>
              <a:gd name="connsiteY10" fmla="*/ 6858000 h 6858000"/>
              <a:gd name="connsiteX11" fmla="*/ 12156000 w 12192000"/>
              <a:gd name="connsiteY11" fmla="*/ 6858000 h 6858000"/>
              <a:gd name="connsiteX12" fmla="*/ 36000 w 12192000"/>
              <a:gd name="connsiteY12" fmla="*/ 6858000 h 6858000"/>
              <a:gd name="connsiteX13" fmla="*/ 0 w 12192000"/>
              <a:gd name="connsiteY13" fmla="*/ 6858000 h 6858000"/>
              <a:gd name="connsiteX14" fmla="*/ 0 w 12192000"/>
              <a:gd name="connsiteY14" fmla="*/ 6822000 h 6858000"/>
              <a:gd name="connsiteX15" fmla="*/ 0 w 12192000"/>
              <a:gd name="connsiteY15" fmla="*/ 3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36000" y="36000"/>
                </a:moveTo>
                <a:lnTo>
                  <a:pt x="36000" y="6822000"/>
                </a:lnTo>
                <a:lnTo>
                  <a:pt x="12156000" y="6822000"/>
                </a:lnTo>
                <a:lnTo>
                  <a:pt x="12156000" y="36000"/>
                </a:lnTo>
                <a:close/>
                <a:moveTo>
                  <a:pt x="0" y="0"/>
                </a:moveTo>
                <a:lnTo>
                  <a:pt x="36000" y="0"/>
                </a:lnTo>
                <a:lnTo>
                  <a:pt x="12156000" y="0"/>
                </a:lnTo>
                <a:lnTo>
                  <a:pt x="12192000" y="0"/>
                </a:lnTo>
                <a:lnTo>
                  <a:pt x="12192000" y="36000"/>
                </a:lnTo>
                <a:lnTo>
                  <a:pt x="12192000" y="6822000"/>
                </a:lnTo>
                <a:lnTo>
                  <a:pt x="12192000" y="6858000"/>
                </a:lnTo>
                <a:lnTo>
                  <a:pt x="12156000" y="6858000"/>
                </a:lnTo>
                <a:lnTo>
                  <a:pt x="36000" y="6858000"/>
                </a:lnTo>
                <a:lnTo>
                  <a:pt x="0" y="6858000"/>
                </a:lnTo>
                <a:lnTo>
                  <a:pt x="0" y="6822000"/>
                </a:lnTo>
                <a:lnTo>
                  <a:pt x="0" y="3600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dirty="0"/>
          </a:p>
        </p:txBody>
      </p:sp>
      <p:sp>
        <p:nvSpPr>
          <p:cNvPr id="6" name="Slide Number Placeholder 5">
            <a:extLst>
              <a:ext uri="{FF2B5EF4-FFF2-40B4-BE49-F238E27FC236}">
                <a16:creationId xmlns:a16="http://schemas.microsoft.com/office/drawing/2014/main" id="{5ECA3099-A94F-4C3E-BC29-780EDD38F722}"/>
              </a:ext>
            </a:extLst>
          </p:cNvPr>
          <p:cNvSpPr>
            <a:spLocks noGrp="1"/>
          </p:cNvSpPr>
          <p:nvPr>
            <p:ph type="sldNum" sz="quarter" idx="4"/>
          </p:nvPr>
        </p:nvSpPr>
        <p:spPr>
          <a:xfrm>
            <a:off x="11677425" y="6322399"/>
            <a:ext cx="370575" cy="365125"/>
          </a:xfrm>
          <a:prstGeom prst="rect">
            <a:avLst/>
          </a:prstGeom>
          <a:solidFill>
            <a:schemeClr val="bg1"/>
          </a:solidFill>
          <a:ln w="3175">
            <a:solidFill>
              <a:schemeClr val="bg1">
                <a:lumMod val="85000"/>
              </a:schemeClr>
            </a:solidFill>
          </a:ln>
          <a:effectLst/>
        </p:spPr>
        <p:txBody>
          <a:bodyPr vert="horz" lIns="0" tIns="0" rIns="0" bIns="0" rtlCol="0" anchor="ctr"/>
          <a:lstStyle>
            <a:lvl1pPr algn="ctr">
              <a:defRPr sz="1200">
                <a:solidFill>
                  <a:schemeClr val="tx1">
                    <a:lumMod val="75000"/>
                    <a:lumOff val="25000"/>
                  </a:schemeClr>
                </a:solidFill>
              </a:defRPr>
            </a:lvl1p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58879C91-B77F-4273-9A27-A3535FB889DB}"/>
              </a:ext>
            </a:extLst>
          </p:cNvPr>
          <p:cNvSpPr>
            <a:spLocks noGrp="1"/>
          </p:cNvSpPr>
          <p:nvPr>
            <p:ph type="ftr" sz="quarter" idx="3"/>
          </p:nvPr>
        </p:nvSpPr>
        <p:spPr>
          <a:xfrm>
            <a:off x="144000" y="6322399"/>
            <a:ext cx="4114800" cy="365125"/>
          </a:xfrm>
          <a:prstGeom prst="rect">
            <a:avLst/>
          </a:prstGeom>
        </p:spPr>
        <p:txBody>
          <a:bodyPr vert="horz" lIns="0" tIns="0" rIns="0" bIns="0" rtlCol="0" anchor="ctr"/>
          <a:lstStyle>
            <a:lvl1pPr algn="l">
              <a:defRPr sz="1200">
                <a:solidFill>
                  <a:schemeClr val="tx1">
                    <a:lumMod val="75000"/>
                    <a:lumOff val="25000"/>
                  </a:schemeClr>
                </a:solidFill>
              </a:defRPr>
            </a:lvl1pPr>
          </a:lstStyle>
          <a:p>
            <a:endParaRPr lang="en-US"/>
          </a:p>
        </p:txBody>
      </p:sp>
      <p:sp>
        <p:nvSpPr>
          <p:cNvPr id="21" name="TextBox 20">
            <a:extLst>
              <a:ext uri="{FF2B5EF4-FFF2-40B4-BE49-F238E27FC236}">
                <a16:creationId xmlns:a16="http://schemas.microsoft.com/office/drawing/2014/main" id="{B3839907-C37E-4F37-B9BB-92B4A49360E6}"/>
              </a:ext>
            </a:extLst>
          </p:cNvPr>
          <p:cNvSpPr txBox="1"/>
          <p:nvPr/>
        </p:nvSpPr>
        <p:spPr>
          <a:xfrm>
            <a:off x="10194026" y="6258973"/>
            <a:ext cx="1577974" cy="427535"/>
          </a:xfrm>
          <a:prstGeom prst="rect">
            <a:avLst/>
          </a:prstGeom>
          <a:noFill/>
        </p:spPr>
        <p:txBody>
          <a:bodyPr wrap="square" lIns="0" tIns="144000" rIns="0" bIns="0" rtlCol="0">
            <a:spAutoFit/>
          </a:bodyPr>
          <a:lstStyle/>
          <a:p>
            <a:pPr algn="ctr">
              <a:lnSpc>
                <a:spcPts val="1100"/>
              </a:lnSpc>
            </a:pPr>
            <a:r>
              <a:rPr lang="en-US" sz="2000" b="1" spc="0" baseline="0" noProof="0" dirty="0">
                <a:solidFill>
                  <a:schemeClr val="tx1">
                    <a:lumMod val="75000"/>
                    <a:lumOff val="25000"/>
                  </a:schemeClr>
                </a:solidFill>
                <a:latin typeface="+mj-lt"/>
                <a:cs typeface="Times New Roman" panose="02020603050405020304" pitchFamily="18" charset="0"/>
              </a:rPr>
              <a:t>Contoso</a:t>
            </a:r>
            <a:br>
              <a:rPr lang="en-US" sz="2000" b="1" spc="0" baseline="0" noProof="0" dirty="0">
                <a:solidFill>
                  <a:schemeClr val="tx1">
                    <a:lumMod val="75000"/>
                    <a:lumOff val="25000"/>
                  </a:schemeClr>
                </a:solidFill>
                <a:latin typeface="Times New Roman" panose="02020603050405020304" pitchFamily="18" charset="0"/>
                <a:cs typeface="Times New Roman" panose="02020603050405020304" pitchFamily="18" charset="0"/>
              </a:rPr>
            </a:br>
            <a:r>
              <a:rPr lang="en-US" sz="1100" b="0" i="1" spc="600" baseline="0" noProof="0" dirty="0">
                <a:solidFill>
                  <a:schemeClr val="tx1">
                    <a:lumMod val="75000"/>
                    <a:lumOff val="25000"/>
                  </a:schemeClr>
                </a:solidFill>
                <a:latin typeface="Times New Roman" panose="02020603050405020304" pitchFamily="18" charset="0"/>
                <a:cs typeface="Times New Roman" panose="02020603050405020304" pitchFamily="18" charset="0"/>
              </a:rPr>
              <a:t>Suites</a:t>
            </a:r>
          </a:p>
        </p:txBody>
      </p:sp>
    </p:spTree>
    <p:extLst>
      <p:ext uri="{BB962C8B-B14F-4D97-AF65-F5344CB8AC3E}">
        <p14:creationId xmlns:p14="http://schemas.microsoft.com/office/powerpoint/2010/main" val="168242298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Lst>
  <p:hf hdr="0" ftr="0" dt="0"/>
  <p:txStyles>
    <p:titleStyle>
      <a:lvl1pPr algn="l" defTabSz="914400" rtl="0" eaLnBrk="1" latinLnBrk="0" hangingPunct="1">
        <a:lnSpc>
          <a:spcPct val="90000"/>
        </a:lnSpc>
        <a:spcBef>
          <a:spcPct val="0"/>
        </a:spcBef>
        <a:buNone/>
        <a:defRPr sz="3200" kern="1200">
          <a:solidFill>
            <a:schemeClr val="tx1"/>
          </a:solidFill>
          <a:latin typeface="Rockwell" panose="02060603020205020403" pitchFamily="18" charset="0"/>
          <a:ea typeface="+mj-ea"/>
          <a:cs typeface="+mj-cs"/>
        </a:defRPr>
      </a:lvl1pPr>
    </p:titleStyle>
    <p:body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notesSlide" Target="../notesSlides/notesSlide1.xml"/><Relationship Id="rId16" Type="http://schemas.openxmlformats.org/officeDocument/2006/relationships/image" Target="../media/image17.png"/><Relationship Id="rId1" Type="http://schemas.openxmlformats.org/officeDocument/2006/relationships/slideLayout" Target="../slideLayouts/slideLayout1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5" Type="http://schemas.openxmlformats.org/officeDocument/2006/relationships/image" Target="../media/image16.svg"/><Relationship Id="rId10" Type="http://schemas.openxmlformats.org/officeDocument/2006/relationships/image" Target="../media/image11.svg"/><Relationship Id="rId19" Type="http://schemas.openxmlformats.org/officeDocument/2006/relationships/image" Target="../media/image20.sv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s>
</file>

<file path=ppt/slides/_rels/slide3.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tags" Target="../tags/tag51.xml"/><Relationship Id="rId55" Type="http://schemas.openxmlformats.org/officeDocument/2006/relationships/tags" Target="../tags/tag56.xml"/><Relationship Id="rId63" Type="http://schemas.openxmlformats.org/officeDocument/2006/relationships/tags" Target="../tags/tag64.xml"/><Relationship Id="rId68" Type="http://schemas.openxmlformats.org/officeDocument/2006/relationships/tags" Target="../tags/tag69.xml"/><Relationship Id="rId76" Type="http://schemas.openxmlformats.org/officeDocument/2006/relationships/image" Target="../media/image22.png"/><Relationship Id="rId7" Type="http://schemas.openxmlformats.org/officeDocument/2006/relationships/tags" Target="../tags/tag8.xml"/><Relationship Id="rId71" Type="http://schemas.openxmlformats.org/officeDocument/2006/relationships/slideLayout" Target="../slideLayouts/slideLayout11.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tags" Target="../tags/tag54.xml"/><Relationship Id="rId58" Type="http://schemas.openxmlformats.org/officeDocument/2006/relationships/tags" Target="../tags/tag59.xml"/><Relationship Id="rId66" Type="http://schemas.openxmlformats.org/officeDocument/2006/relationships/tags" Target="../tags/tag67.xml"/><Relationship Id="rId74" Type="http://schemas.openxmlformats.org/officeDocument/2006/relationships/chart" Target="../charts/chart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61" Type="http://schemas.openxmlformats.org/officeDocument/2006/relationships/tags" Target="../tags/tag62.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chart" Target="../charts/chart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tags" Target="../tags/tag65.xml"/><Relationship Id="rId69" Type="http://schemas.openxmlformats.org/officeDocument/2006/relationships/tags" Target="../tags/tag70.xml"/><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notesSlide" Target="../notesSlides/notesSlide2.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 Id="rId67" Type="http://schemas.openxmlformats.org/officeDocument/2006/relationships/tags" Target="../tags/tag68.xml"/><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tags" Target="../tags/tag71.xml"/><Relationship Id="rId75" Type="http://schemas.openxmlformats.org/officeDocument/2006/relationships/image" Target="../media/image21.png"/><Relationship Id="rId1" Type="http://schemas.openxmlformats.org/officeDocument/2006/relationships/tags" Target="../tags/tag2.xml"/><Relationship Id="rId6" Type="http://schemas.openxmlformats.org/officeDocument/2006/relationships/tags" Target="../tags/tag7.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eg"/><Relationship Id="rId7" Type="http://schemas.openxmlformats.org/officeDocument/2006/relationships/image" Target="../media/image33.svg"/><Relationship Id="rId2" Type="http://schemas.openxmlformats.org/officeDocument/2006/relationships/image" Target="../media/image28.jpeg"/><Relationship Id="rId1" Type="http://schemas.openxmlformats.org/officeDocument/2006/relationships/slideLayout" Target="../slideLayouts/slideLayout20.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5.svg"/></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xml"/><Relationship Id="rId5" Type="http://schemas.openxmlformats.org/officeDocument/2006/relationships/image" Target="../media/image39.tiff"/><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18" Type="http://schemas.openxmlformats.org/officeDocument/2006/relationships/image" Target="../media/image56.png"/><Relationship Id="rId3" Type="http://schemas.openxmlformats.org/officeDocument/2006/relationships/image" Target="../media/image41.svg"/><Relationship Id="rId21" Type="http://schemas.openxmlformats.org/officeDocument/2006/relationships/image" Target="../media/image59.svg"/><Relationship Id="rId7" Type="http://schemas.openxmlformats.org/officeDocument/2006/relationships/image" Target="../media/image45.svg"/><Relationship Id="rId12" Type="http://schemas.openxmlformats.org/officeDocument/2006/relationships/image" Target="../media/image50.png"/><Relationship Id="rId17" Type="http://schemas.openxmlformats.org/officeDocument/2006/relationships/image" Target="../media/image55.svg"/><Relationship Id="rId2" Type="http://schemas.openxmlformats.org/officeDocument/2006/relationships/image" Target="../media/image40.png"/><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20.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43.svg"/><Relationship Id="rId15" Type="http://schemas.openxmlformats.org/officeDocument/2006/relationships/image" Target="../media/image53.svg"/><Relationship Id="rId10" Type="http://schemas.openxmlformats.org/officeDocument/2006/relationships/image" Target="../media/image48.png"/><Relationship Id="rId19" Type="http://schemas.openxmlformats.org/officeDocument/2006/relationships/image" Target="../media/image57.svg"/><Relationship Id="rId4" Type="http://schemas.openxmlformats.org/officeDocument/2006/relationships/image" Target="../media/image42.png"/><Relationship Id="rId9" Type="http://schemas.openxmlformats.org/officeDocument/2006/relationships/image" Target="../media/image47.svg"/><Relationship Id="rId14" Type="http://schemas.openxmlformats.org/officeDocument/2006/relationships/image" Target="../media/image52.png"/></Relationships>
</file>

<file path=ppt/slides/_rels/slide8.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tags" Target="../tags/tag97.xml"/><Relationship Id="rId3" Type="http://schemas.openxmlformats.org/officeDocument/2006/relationships/tags" Target="../tags/tag74.xml"/><Relationship Id="rId21" Type="http://schemas.openxmlformats.org/officeDocument/2006/relationships/tags" Target="../tags/tag92.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tags" Target="../tags/tag96.xml"/><Relationship Id="rId33" Type="http://schemas.openxmlformats.org/officeDocument/2006/relationships/image" Target="../media/image64.svg"/><Relationship Id="rId2" Type="http://schemas.openxmlformats.org/officeDocument/2006/relationships/tags" Target="../tags/tag73.xml"/><Relationship Id="rId16" Type="http://schemas.openxmlformats.org/officeDocument/2006/relationships/tags" Target="../tags/tag87.xml"/><Relationship Id="rId20" Type="http://schemas.openxmlformats.org/officeDocument/2006/relationships/tags" Target="../tags/tag91.xml"/><Relationship Id="rId29" Type="http://schemas.openxmlformats.org/officeDocument/2006/relationships/image" Target="../media/image60.png"/><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tags" Target="../tags/tag95.xml"/><Relationship Id="rId32" Type="http://schemas.openxmlformats.org/officeDocument/2006/relationships/image" Target="../media/image63.png"/><Relationship Id="rId5" Type="http://schemas.openxmlformats.org/officeDocument/2006/relationships/tags" Target="../tags/tag76.xml"/><Relationship Id="rId15" Type="http://schemas.openxmlformats.org/officeDocument/2006/relationships/tags" Target="../tags/tag86.xml"/><Relationship Id="rId23" Type="http://schemas.openxmlformats.org/officeDocument/2006/relationships/tags" Target="../tags/tag94.xml"/><Relationship Id="rId28" Type="http://schemas.openxmlformats.org/officeDocument/2006/relationships/chart" Target="../charts/chart3.xml"/><Relationship Id="rId10" Type="http://schemas.openxmlformats.org/officeDocument/2006/relationships/tags" Target="../tags/tag81.xml"/><Relationship Id="rId19" Type="http://schemas.openxmlformats.org/officeDocument/2006/relationships/tags" Target="../tags/tag90.xml"/><Relationship Id="rId31" Type="http://schemas.openxmlformats.org/officeDocument/2006/relationships/image" Target="../media/image62.png"/><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slideLayout" Target="../slideLayouts/slideLayout20.xml"/><Relationship Id="rId30" Type="http://schemas.openxmlformats.org/officeDocument/2006/relationships/image" Target="../media/image61.svg"/></Relationships>
</file>

<file path=ppt/slides/_rels/slide9.xml.rels><?xml version="1.0" encoding="UTF-8" standalone="yes"?>
<Relationships xmlns="http://schemas.openxmlformats.org/package/2006/relationships"><Relationship Id="rId8" Type="http://schemas.openxmlformats.org/officeDocument/2006/relationships/image" Target="../media/image71.tiff"/><Relationship Id="rId3" Type="http://schemas.openxmlformats.org/officeDocument/2006/relationships/image" Target="../media/image66.svg"/><Relationship Id="rId7" Type="http://schemas.openxmlformats.org/officeDocument/2006/relationships/image" Target="../media/image70.svg"/><Relationship Id="rId2" Type="http://schemas.openxmlformats.org/officeDocument/2006/relationships/image" Target="../media/image65.png"/><Relationship Id="rId1" Type="http://schemas.openxmlformats.org/officeDocument/2006/relationships/slideLayout" Target="../slideLayouts/slideLayout20.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eidupont.scene7.com/is/image/eidupont/DareBigger_Mining">
            <a:extLst>
              <a:ext uri="{FF2B5EF4-FFF2-40B4-BE49-F238E27FC236}">
                <a16:creationId xmlns:a16="http://schemas.microsoft.com/office/drawing/2014/main" id="{F99BB74D-7531-44E2-B579-EDE33124342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257" t="-466" r="6258" b="369"/>
          <a:stretch/>
        </p:blipFill>
        <p:spPr bwMode="auto">
          <a:xfrm>
            <a:off x="-30513" y="-41084"/>
            <a:ext cx="12222513" cy="699227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13B2B2A-AE10-41B5-B05B-839F4727349C}"/>
              </a:ext>
            </a:extLst>
          </p:cNvPr>
          <p:cNvSpPr/>
          <p:nvPr/>
        </p:nvSpPr>
        <p:spPr>
          <a:xfrm>
            <a:off x="-260619" y="-209605"/>
            <a:ext cx="12705644" cy="7329312"/>
          </a:xfrm>
          <a:prstGeom prst="rect">
            <a:avLst/>
          </a:prstGeom>
          <a:solidFill>
            <a:schemeClr val="bg1">
              <a:lumMod val="75000"/>
              <a:alpha val="66000"/>
            </a:schemeClr>
          </a:solidFill>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sp>
        <p:nvSpPr>
          <p:cNvPr id="2" name="Title 1"/>
          <p:cNvSpPr>
            <a:spLocks noGrp="1"/>
          </p:cNvSpPr>
          <p:nvPr>
            <p:ph type="ctrTitle"/>
          </p:nvPr>
        </p:nvSpPr>
        <p:spPr>
          <a:xfrm>
            <a:off x="335210" y="2931845"/>
            <a:ext cx="6482073" cy="1045450"/>
          </a:xfrm>
          <a:noFill/>
        </p:spPr>
        <p:txBody>
          <a:bodyPr>
            <a:normAutofit/>
          </a:bodyPr>
          <a:lstStyle/>
          <a:p>
            <a:r>
              <a:rPr lang="en-US" sz="4800" b="1" dirty="0">
                <a:solidFill>
                  <a:srgbClr val="D74339"/>
                </a:solidFill>
                <a:latin typeface="Century Gothic" panose="020B0502020202020204" pitchFamily="34" charset="0"/>
              </a:rPr>
              <a:t>G-C Safety Protocol</a:t>
            </a:r>
          </a:p>
        </p:txBody>
      </p:sp>
      <p:sp>
        <p:nvSpPr>
          <p:cNvPr id="3" name="Subtitle 2"/>
          <p:cNvSpPr>
            <a:spLocks noGrp="1"/>
          </p:cNvSpPr>
          <p:nvPr>
            <p:ph type="subTitle" idx="1"/>
          </p:nvPr>
        </p:nvSpPr>
        <p:spPr>
          <a:xfrm>
            <a:off x="-30514" y="5294720"/>
            <a:ext cx="12222513" cy="1355913"/>
          </a:xfrm>
          <a:solidFill>
            <a:schemeClr val="bg1">
              <a:lumMod val="65000"/>
              <a:alpha val="85000"/>
            </a:schemeClr>
          </a:solidFill>
          <a:ln>
            <a:noFill/>
          </a:ln>
        </p:spPr>
        <p:txBody>
          <a:bodyPr>
            <a:normAutofit fontScale="85000" lnSpcReduction="20000"/>
          </a:bodyPr>
          <a:lstStyle/>
          <a:p>
            <a:r>
              <a:rPr lang="en-CA" sz="2500" b="1" dirty="0">
                <a:solidFill>
                  <a:srgbClr val="D74339"/>
                </a:solidFill>
                <a:latin typeface="Century Gothic" panose="020B0502020202020204" pitchFamily="34" charset="0"/>
              </a:rPr>
              <a:t>MBD 2019 - A1 - Group C    </a:t>
            </a:r>
            <a:endParaRPr lang="ru-RU" sz="2500" b="1" dirty="0">
              <a:solidFill>
                <a:srgbClr val="D74339"/>
              </a:solidFill>
              <a:latin typeface="Century Gothic" panose="020B0502020202020204" pitchFamily="34" charset="0"/>
            </a:endParaRPr>
          </a:p>
          <a:p>
            <a:r>
              <a:rPr lang="en-CA" sz="2500" dirty="0">
                <a:solidFill>
                  <a:srgbClr val="373334"/>
                </a:solidFill>
                <a:latin typeface="Century Gothic" panose="020B0502020202020204" pitchFamily="34" charset="0"/>
              </a:rPr>
              <a:t> </a:t>
            </a:r>
            <a:endParaRPr lang="ru-RU" sz="2500" dirty="0">
              <a:solidFill>
                <a:srgbClr val="373334"/>
              </a:solidFill>
              <a:latin typeface="Century Gothic" panose="020B0502020202020204" pitchFamily="34" charset="0"/>
            </a:endParaRPr>
          </a:p>
          <a:p>
            <a:r>
              <a:rPr lang="en-CA" sz="2500" dirty="0">
                <a:solidFill>
                  <a:schemeClr val="bg1"/>
                </a:solidFill>
                <a:latin typeface="Century Gothic" panose="020B0502020202020204" pitchFamily="34" charset="0"/>
              </a:rPr>
              <a:t>Moutaz Al-Huneidi | Jan Marek </a:t>
            </a:r>
            <a:r>
              <a:rPr lang="en-CA" sz="2500" dirty="0" err="1">
                <a:solidFill>
                  <a:schemeClr val="bg1"/>
                </a:solidFill>
                <a:latin typeface="Century Gothic" panose="020B0502020202020204" pitchFamily="34" charset="0"/>
              </a:rPr>
              <a:t>Blaszczuk</a:t>
            </a:r>
            <a:r>
              <a:rPr lang="en-CA" sz="2500" dirty="0">
                <a:solidFill>
                  <a:schemeClr val="bg1"/>
                </a:solidFill>
                <a:latin typeface="Century Gothic" panose="020B0502020202020204" pitchFamily="34" charset="0"/>
              </a:rPr>
              <a:t> | Juan David Botero | Ekaterina </a:t>
            </a:r>
            <a:r>
              <a:rPr lang="en-CA" sz="2500" dirty="0" err="1">
                <a:solidFill>
                  <a:schemeClr val="bg1"/>
                </a:solidFill>
                <a:latin typeface="Century Gothic" panose="020B0502020202020204" pitchFamily="34" charset="0"/>
              </a:rPr>
              <a:t>Chunosova</a:t>
            </a:r>
            <a:r>
              <a:rPr lang="en-CA" sz="2500" dirty="0">
                <a:solidFill>
                  <a:schemeClr val="bg1"/>
                </a:solidFill>
                <a:latin typeface="Century Gothic" panose="020B0502020202020204" pitchFamily="34" charset="0"/>
              </a:rPr>
              <a:t> </a:t>
            </a:r>
            <a:r>
              <a:rPr lang="en-CA" sz="2500" dirty="0" err="1">
                <a:solidFill>
                  <a:schemeClr val="bg1"/>
                </a:solidFill>
                <a:latin typeface="Century Gothic" panose="020B0502020202020204" pitchFamily="34" charset="0"/>
              </a:rPr>
              <a:t>Rosalía</a:t>
            </a:r>
            <a:r>
              <a:rPr lang="en-CA" sz="2500" dirty="0">
                <a:solidFill>
                  <a:schemeClr val="bg1"/>
                </a:solidFill>
                <a:latin typeface="Century Gothic" panose="020B0502020202020204" pitchFamily="34" charset="0"/>
              </a:rPr>
              <a:t> Contreras | Juan Pablo </a:t>
            </a:r>
            <a:r>
              <a:rPr lang="en-CA" sz="2500" dirty="0" err="1">
                <a:solidFill>
                  <a:schemeClr val="bg1"/>
                </a:solidFill>
                <a:latin typeface="Century Gothic" panose="020B0502020202020204" pitchFamily="34" charset="0"/>
              </a:rPr>
              <a:t>Larrondo</a:t>
            </a:r>
            <a:r>
              <a:rPr lang="en-CA" sz="2500" dirty="0">
                <a:solidFill>
                  <a:schemeClr val="bg1"/>
                </a:solidFill>
                <a:latin typeface="Century Gothic" panose="020B0502020202020204" pitchFamily="34" charset="0"/>
              </a:rPr>
              <a:t> | Utkarsh </a:t>
            </a:r>
            <a:r>
              <a:rPr lang="en-CA" sz="2500" dirty="0" err="1">
                <a:solidFill>
                  <a:schemeClr val="bg1"/>
                </a:solidFill>
                <a:latin typeface="Century Gothic" panose="020B0502020202020204" pitchFamily="34" charset="0"/>
              </a:rPr>
              <a:t>Khemka</a:t>
            </a:r>
            <a:r>
              <a:rPr lang="en-CA" sz="2500" dirty="0">
                <a:solidFill>
                  <a:schemeClr val="bg1"/>
                </a:solidFill>
                <a:latin typeface="Century Gothic" panose="020B0502020202020204" pitchFamily="34" charset="0"/>
              </a:rPr>
              <a:t> </a:t>
            </a:r>
            <a:endParaRPr lang="ru-RU" sz="2500" dirty="0">
              <a:solidFill>
                <a:schemeClr val="bg1"/>
              </a:solidFill>
              <a:latin typeface="Century Gothic" panose="020B0502020202020204" pitchFamily="34" charset="0"/>
            </a:endParaRPr>
          </a:p>
          <a:p>
            <a:endParaRPr lang="en-US" dirty="0">
              <a:latin typeface="Century Gothic" panose="020B0502020202020204" pitchFamily="34" charset="0"/>
            </a:endParaRPr>
          </a:p>
        </p:txBody>
      </p:sp>
      <p:grpSp>
        <p:nvGrpSpPr>
          <p:cNvPr id="20" name="Group 19">
            <a:extLst>
              <a:ext uri="{FF2B5EF4-FFF2-40B4-BE49-F238E27FC236}">
                <a16:creationId xmlns:a16="http://schemas.microsoft.com/office/drawing/2014/main" id="{95AA21A7-515D-004A-AB20-7EDECB36B323}"/>
              </a:ext>
            </a:extLst>
          </p:cNvPr>
          <p:cNvGrpSpPr/>
          <p:nvPr/>
        </p:nvGrpSpPr>
        <p:grpSpPr>
          <a:xfrm>
            <a:off x="4831476" y="7441074"/>
            <a:ext cx="3343157" cy="1302158"/>
            <a:chOff x="7014258" y="6192449"/>
            <a:chExt cx="3343157" cy="1302158"/>
          </a:xfrm>
        </p:grpSpPr>
        <p:sp>
          <p:nvSpPr>
            <p:cNvPr id="4" name="Rectangle 3">
              <a:extLst>
                <a:ext uri="{FF2B5EF4-FFF2-40B4-BE49-F238E27FC236}">
                  <a16:creationId xmlns:a16="http://schemas.microsoft.com/office/drawing/2014/main" id="{3A78B9B4-4FF2-9A4A-90EE-74EB3D0D2713}"/>
                </a:ext>
              </a:extLst>
            </p:cNvPr>
            <p:cNvSpPr/>
            <p:nvPr/>
          </p:nvSpPr>
          <p:spPr>
            <a:xfrm>
              <a:off x="7014258" y="6192456"/>
              <a:ext cx="358815" cy="1273215"/>
            </a:xfrm>
            <a:prstGeom prst="rect">
              <a:avLst/>
            </a:prstGeom>
            <a:solidFill>
              <a:srgbClr val="373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Rectangle 6">
              <a:extLst>
                <a:ext uri="{FF2B5EF4-FFF2-40B4-BE49-F238E27FC236}">
                  <a16:creationId xmlns:a16="http://schemas.microsoft.com/office/drawing/2014/main" id="{08C68ECA-A873-AE41-B260-115EA7420785}"/>
                </a:ext>
              </a:extLst>
            </p:cNvPr>
            <p:cNvSpPr/>
            <p:nvPr/>
          </p:nvSpPr>
          <p:spPr>
            <a:xfrm>
              <a:off x="7502324" y="6192455"/>
              <a:ext cx="358815" cy="1273215"/>
            </a:xfrm>
            <a:prstGeom prst="rect">
              <a:avLst/>
            </a:prstGeom>
            <a:solidFill>
              <a:srgbClr val="E9D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Rectangle 7">
              <a:extLst>
                <a:ext uri="{FF2B5EF4-FFF2-40B4-BE49-F238E27FC236}">
                  <a16:creationId xmlns:a16="http://schemas.microsoft.com/office/drawing/2014/main" id="{EB445AAB-EA59-764F-BBA3-A50F95B060F8}"/>
                </a:ext>
              </a:extLst>
            </p:cNvPr>
            <p:cNvSpPr/>
            <p:nvPr/>
          </p:nvSpPr>
          <p:spPr>
            <a:xfrm>
              <a:off x="7990390" y="6192454"/>
              <a:ext cx="358815" cy="1273215"/>
            </a:xfrm>
            <a:prstGeom prst="rect">
              <a:avLst/>
            </a:prstGeom>
            <a:solidFill>
              <a:srgbClr val="F3ED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Rectangle 8">
              <a:extLst>
                <a:ext uri="{FF2B5EF4-FFF2-40B4-BE49-F238E27FC236}">
                  <a16:creationId xmlns:a16="http://schemas.microsoft.com/office/drawing/2014/main" id="{E8A410F4-4535-5943-84A6-975C37F6B23C}"/>
                </a:ext>
              </a:extLst>
            </p:cNvPr>
            <p:cNvSpPr/>
            <p:nvPr/>
          </p:nvSpPr>
          <p:spPr>
            <a:xfrm>
              <a:off x="8478456" y="6192453"/>
              <a:ext cx="358815" cy="1273215"/>
            </a:xfrm>
            <a:prstGeom prst="rect">
              <a:avLst/>
            </a:prstGeom>
            <a:solidFill>
              <a:srgbClr val="D74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Rectangle 9">
              <a:extLst>
                <a:ext uri="{FF2B5EF4-FFF2-40B4-BE49-F238E27FC236}">
                  <a16:creationId xmlns:a16="http://schemas.microsoft.com/office/drawing/2014/main" id="{F742FF10-1CA3-1243-8DA4-6626B1AF706B}"/>
                </a:ext>
              </a:extLst>
            </p:cNvPr>
            <p:cNvSpPr/>
            <p:nvPr/>
          </p:nvSpPr>
          <p:spPr>
            <a:xfrm>
              <a:off x="9502817" y="6221392"/>
              <a:ext cx="358815" cy="1273215"/>
            </a:xfrm>
            <a:prstGeom prst="rect">
              <a:avLst/>
            </a:prstGeom>
            <a:solidFill>
              <a:srgbClr val="99BC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Rectangle 10">
              <a:extLst>
                <a:ext uri="{FF2B5EF4-FFF2-40B4-BE49-F238E27FC236}">
                  <a16:creationId xmlns:a16="http://schemas.microsoft.com/office/drawing/2014/main" id="{42E2CEAB-6D1B-7749-89C3-BE14D8492DB5}"/>
                </a:ext>
              </a:extLst>
            </p:cNvPr>
            <p:cNvSpPr/>
            <p:nvPr/>
          </p:nvSpPr>
          <p:spPr>
            <a:xfrm>
              <a:off x="9998600" y="6192449"/>
              <a:ext cx="358815" cy="1273215"/>
            </a:xfrm>
            <a:prstGeom prst="rect">
              <a:avLst/>
            </a:prstGeom>
            <a:solidFill>
              <a:srgbClr val="154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Rectangle 13">
              <a:extLst>
                <a:ext uri="{FF2B5EF4-FFF2-40B4-BE49-F238E27FC236}">
                  <a16:creationId xmlns:a16="http://schemas.microsoft.com/office/drawing/2014/main" id="{614DD4BB-8982-2B44-9797-D441C754CE61}"/>
                </a:ext>
              </a:extLst>
            </p:cNvPr>
            <p:cNvSpPr/>
            <p:nvPr/>
          </p:nvSpPr>
          <p:spPr>
            <a:xfrm>
              <a:off x="8966522" y="6192449"/>
              <a:ext cx="358815" cy="1273215"/>
            </a:xfrm>
            <a:prstGeom prst="rect">
              <a:avLst/>
            </a:prstGeom>
            <a:solidFill>
              <a:srgbClr val="FEE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12" name="TextBox 11">
            <a:extLst>
              <a:ext uri="{FF2B5EF4-FFF2-40B4-BE49-F238E27FC236}">
                <a16:creationId xmlns:a16="http://schemas.microsoft.com/office/drawing/2014/main" id="{7B03A696-6E33-784C-94D8-0D411D237852}"/>
              </a:ext>
            </a:extLst>
          </p:cNvPr>
          <p:cNvSpPr txBox="1"/>
          <p:nvPr/>
        </p:nvSpPr>
        <p:spPr>
          <a:xfrm>
            <a:off x="-260619" y="7586887"/>
            <a:ext cx="3078721" cy="923330"/>
          </a:xfrm>
          <a:prstGeom prst="rect">
            <a:avLst/>
          </a:prstGeom>
          <a:noFill/>
          <a:ln>
            <a:solidFill>
              <a:srgbClr val="373334"/>
            </a:solidFill>
            <a:prstDash val="dash"/>
          </a:ln>
        </p:spPr>
        <p:txBody>
          <a:bodyPr wrap="square" rtlCol="0">
            <a:spAutoFit/>
          </a:bodyPr>
          <a:lstStyle/>
          <a:p>
            <a:pPr algn="ctr"/>
            <a:r>
              <a:rPr lang="en-US" dirty="0">
                <a:latin typeface="Arial" panose="020B0604020202020204" pitchFamily="34" charset="0"/>
                <a:cs typeface="Arial" panose="020B0604020202020204" pitchFamily="34" charset="0"/>
              </a:rPr>
              <a:t>AI helmet recognition solution that ensures safety in the mines</a:t>
            </a:r>
            <a:endParaRPr lang="ru-RU" dirty="0">
              <a:latin typeface="Arial" panose="020B0604020202020204" pitchFamily="34" charset="0"/>
              <a:cs typeface="Arial" panose="020B0604020202020204" pitchFamily="34" charset="0"/>
            </a:endParaRPr>
          </a:p>
        </p:txBody>
      </p:sp>
      <p:pic>
        <p:nvPicPr>
          <p:cNvPr id="15" name="Picture 14" descr="A close up of a sign&#10;&#10;Description automatically generated">
            <a:extLst>
              <a:ext uri="{FF2B5EF4-FFF2-40B4-BE49-F238E27FC236}">
                <a16:creationId xmlns:a16="http://schemas.microsoft.com/office/drawing/2014/main" id="{4B9313D2-625C-0841-8AE3-F9FE9F6EAB49}"/>
              </a:ext>
            </a:extLst>
          </p:cNvPr>
          <p:cNvPicPr>
            <a:picLocks noChangeAspect="1"/>
          </p:cNvPicPr>
          <p:nvPr/>
        </p:nvPicPr>
        <p:blipFill>
          <a:blip r:embed="rId3">
            <a:alphaModFix amt="85000"/>
            <a:extLst>
              <a:ext uri="{28A0092B-C50C-407E-A947-70E740481C1C}">
                <a14:useLocalDpi xmlns:a14="http://schemas.microsoft.com/office/drawing/2010/main" val="0"/>
              </a:ext>
            </a:extLst>
          </a:blip>
          <a:stretch>
            <a:fillRect/>
          </a:stretch>
        </p:blipFill>
        <p:spPr>
          <a:xfrm>
            <a:off x="-1200226" y="7586887"/>
            <a:ext cx="565567" cy="565567"/>
          </a:xfrm>
          <a:prstGeom prst="rect">
            <a:avLst/>
          </a:prstGeom>
        </p:spPr>
      </p:pic>
      <p:pic>
        <p:nvPicPr>
          <p:cNvPr id="17" name="Picture 16" descr="A close up of a logo&#10;&#10;Description automatically generated">
            <a:extLst>
              <a:ext uri="{FF2B5EF4-FFF2-40B4-BE49-F238E27FC236}">
                <a16:creationId xmlns:a16="http://schemas.microsoft.com/office/drawing/2014/main" id="{4E8BA9A6-2DAF-B748-AFA7-BFAE0BD26D98}"/>
              </a:ext>
            </a:extLst>
          </p:cNvPr>
          <p:cNvPicPr>
            <a:picLocks noChangeAspect="1"/>
          </p:cNvPicPr>
          <p:nvPr/>
        </p:nvPicPr>
        <p:blipFill>
          <a:blip r:embed="rId4">
            <a:alphaModFix amt="85000"/>
            <a:extLst>
              <a:ext uri="{28A0092B-C50C-407E-A947-70E740481C1C}">
                <a14:useLocalDpi xmlns:a14="http://schemas.microsoft.com/office/drawing/2010/main" val="0"/>
              </a:ext>
            </a:extLst>
          </a:blip>
          <a:stretch>
            <a:fillRect/>
          </a:stretch>
        </p:blipFill>
        <p:spPr>
          <a:xfrm>
            <a:off x="3352038" y="7700300"/>
            <a:ext cx="665331" cy="665331"/>
          </a:xfrm>
          <a:prstGeom prst="rect">
            <a:avLst/>
          </a:prstGeom>
        </p:spPr>
      </p:pic>
      <p:grpSp>
        <p:nvGrpSpPr>
          <p:cNvPr id="13" name="Group 12">
            <a:extLst>
              <a:ext uri="{FF2B5EF4-FFF2-40B4-BE49-F238E27FC236}">
                <a16:creationId xmlns:a16="http://schemas.microsoft.com/office/drawing/2014/main" id="{CACB9BA1-BA48-B946-9B65-7CF3BEC8A21F}"/>
              </a:ext>
            </a:extLst>
          </p:cNvPr>
          <p:cNvGrpSpPr/>
          <p:nvPr/>
        </p:nvGrpSpPr>
        <p:grpSpPr>
          <a:xfrm>
            <a:off x="4904509" y="592949"/>
            <a:ext cx="4162566" cy="1355913"/>
            <a:chOff x="4904509" y="592949"/>
            <a:chExt cx="4162566" cy="1355913"/>
          </a:xfrm>
        </p:grpSpPr>
        <p:sp>
          <p:nvSpPr>
            <p:cNvPr id="6" name="Rectangle 5">
              <a:extLst>
                <a:ext uri="{FF2B5EF4-FFF2-40B4-BE49-F238E27FC236}">
                  <a16:creationId xmlns:a16="http://schemas.microsoft.com/office/drawing/2014/main" id="{CED064CF-BE3A-408F-AEEB-60A545C6629C}"/>
                </a:ext>
              </a:extLst>
            </p:cNvPr>
            <p:cNvSpPr/>
            <p:nvPr/>
          </p:nvSpPr>
          <p:spPr>
            <a:xfrm>
              <a:off x="7678850" y="592949"/>
              <a:ext cx="1388225" cy="1355913"/>
            </a:xfrm>
            <a:prstGeom prst="rect">
              <a:avLst/>
            </a:prstGeom>
            <a:noFill/>
            <a:ln w="41275">
              <a:solidFill>
                <a:srgbClr val="3FFF57"/>
              </a:solidFill>
              <a:prstDash val="dashDot"/>
            </a:ln>
          </p:spPr>
          <p:txBody>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p>
              <a:pPr algn="r">
                <a:lnSpc>
                  <a:spcPts val="4700"/>
                </a:lnSpc>
                <a:spcBef>
                  <a:spcPct val="0"/>
                </a:spcBef>
              </a:pPr>
              <a:endParaRPr lang="en-GB" sz="4500">
                <a:solidFill>
                  <a:schemeClr val="tx1"/>
                </a:solidFill>
                <a:latin typeface="Rockwell" panose="02060603020205020403" pitchFamily="18" charset="0"/>
                <a:ea typeface="+mj-ea"/>
                <a:cs typeface="+mj-cs"/>
              </a:endParaRPr>
            </a:p>
          </p:txBody>
        </p:sp>
        <p:cxnSp>
          <p:nvCxnSpPr>
            <p:cNvPr id="16" name="Straight Connector 15">
              <a:extLst>
                <a:ext uri="{FF2B5EF4-FFF2-40B4-BE49-F238E27FC236}">
                  <a16:creationId xmlns:a16="http://schemas.microsoft.com/office/drawing/2014/main" id="{00996862-1E2C-4AA9-B9A0-6026853150D1}"/>
                </a:ext>
              </a:extLst>
            </p:cNvPr>
            <p:cNvCxnSpPr>
              <a:cxnSpLocks/>
              <a:stCxn id="6" idx="1"/>
            </p:cNvCxnSpPr>
            <p:nvPr/>
          </p:nvCxnSpPr>
          <p:spPr>
            <a:xfrm flipH="1" flipV="1">
              <a:off x="6963147" y="789709"/>
              <a:ext cx="715703" cy="481197"/>
            </a:xfrm>
            <a:prstGeom prst="line">
              <a:avLst/>
            </a:prstGeom>
            <a:ln w="47625">
              <a:solidFill>
                <a:srgbClr val="3FFF57"/>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1E0D298-46AF-4544-B250-D8C84CFAEB33}"/>
                </a:ext>
              </a:extLst>
            </p:cNvPr>
            <p:cNvCxnSpPr>
              <a:cxnSpLocks/>
            </p:cNvCxnSpPr>
            <p:nvPr/>
          </p:nvCxnSpPr>
          <p:spPr>
            <a:xfrm flipH="1" flipV="1">
              <a:off x="4904509" y="789709"/>
              <a:ext cx="2067321" cy="16627"/>
            </a:xfrm>
            <a:prstGeom prst="line">
              <a:avLst/>
            </a:prstGeom>
            <a:ln w="47625">
              <a:solidFill>
                <a:srgbClr val="3FFF57"/>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750BC4C6-5716-4DAD-9697-EACE62A89693}"/>
              </a:ext>
            </a:extLst>
          </p:cNvPr>
          <p:cNvSpPr txBox="1"/>
          <p:nvPr/>
        </p:nvSpPr>
        <p:spPr>
          <a:xfrm>
            <a:off x="4904510" y="364326"/>
            <a:ext cx="2128058" cy="338554"/>
          </a:xfrm>
          <a:prstGeom prst="rect">
            <a:avLst/>
          </a:prstGeom>
          <a:solidFill>
            <a:schemeClr val="bg1">
              <a:lumMod val="50000"/>
              <a:alpha val="84000"/>
            </a:schemeClr>
          </a:solidFill>
        </p:spPr>
        <p:txBody>
          <a:bodyPr wrap="square" rtlCol="0">
            <a:spAutoFit/>
          </a:bodyPr>
          <a:lstStyle/>
          <a:p>
            <a:r>
              <a:rPr lang="en-CA" sz="1600" b="1" dirty="0">
                <a:solidFill>
                  <a:schemeClr val="bg1"/>
                </a:solidFill>
                <a:latin typeface="Century Gothic" panose="020B0502020202020204" pitchFamily="34" charset="0"/>
              </a:rPr>
              <a:t>Helmet Status: </a:t>
            </a:r>
            <a:r>
              <a:rPr lang="en-CA" sz="1600" b="1" dirty="0">
                <a:solidFill>
                  <a:srgbClr val="3FFF57"/>
                </a:solidFill>
                <a:latin typeface="Century Gothic" panose="020B0502020202020204" pitchFamily="34" charset="0"/>
              </a:rPr>
              <a:t>OK</a:t>
            </a:r>
            <a:endParaRPr lang="en-GB" sz="1600" b="1" dirty="0">
              <a:solidFill>
                <a:srgbClr val="3FFF57"/>
              </a:solidFill>
              <a:latin typeface="Century Gothic" panose="020B0502020202020204" pitchFamily="34" charset="0"/>
            </a:endParaRPr>
          </a:p>
        </p:txBody>
      </p:sp>
    </p:spTree>
    <p:extLst>
      <p:ext uri="{BB962C8B-B14F-4D97-AF65-F5344CB8AC3E}">
        <p14:creationId xmlns:p14="http://schemas.microsoft.com/office/powerpoint/2010/main" val="109857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0"/>
                                  </p:stCondLst>
                                  <p:childTnLst>
                                    <p:animEffect transition="out" filter="fade">
                                      <p:cBhvr>
                                        <p:cTn id="6" dur="1500" tmFilter="0, 0; .2, .5; .8, .5; 1, 0"/>
                                        <p:tgtEl>
                                          <p:spTgt spid="13"/>
                                        </p:tgtEl>
                                      </p:cBhvr>
                                    </p:animEffect>
                                    <p:animScale>
                                      <p:cBhvr>
                                        <p:cTn id="7" dur="750" autoRev="1" fill="hold"/>
                                        <p:tgtEl>
                                          <p:spTgt spid="13"/>
                                        </p:tgtEl>
                                      </p:cBhvr>
                                      <p:by x="105000" y="105000"/>
                                    </p:animScale>
                                  </p:childTnLst>
                                </p:cTn>
                              </p:par>
                              <p:par>
                                <p:cTn id="8" presetID="26" presetClass="emph" presetSubtype="0" repeatCount="indefinite" fill="hold" grpId="0" nodeType="withEffect">
                                  <p:stCondLst>
                                    <p:cond delay="0"/>
                                  </p:stCondLst>
                                  <p:childTnLst>
                                    <p:animEffect transition="out" filter="fade">
                                      <p:cBhvr>
                                        <p:cTn id="9" dur="1500" tmFilter="0, 0; .2, .5; .8, .5; 1, 0"/>
                                        <p:tgtEl>
                                          <p:spTgt spid="26"/>
                                        </p:tgtEl>
                                      </p:cBhvr>
                                    </p:animEffect>
                                    <p:animScale>
                                      <p:cBhvr>
                                        <p:cTn id="10" dur="750" autoRev="1" fill="hold"/>
                                        <p:tgtEl>
                                          <p:spTgt spid="2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1E503A2-4F52-4C27-AEE3-6C848D3663C4}"/>
              </a:ext>
            </a:extLst>
          </p:cNvPr>
          <p:cNvSpPr>
            <a:spLocks noGrp="1"/>
          </p:cNvSpPr>
          <p:nvPr>
            <p:ph type="sldNum" sz="quarter" idx="13"/>
          </p:nvPr>
        </p:nvSpPr>
        <p:spPr/>
        <p:txBody>
          <a:bodyPr/>
          <a:lstStyle/>
          <a:p>
            <a:fld id="{330EA680-D336-4FF7-8B7A-9848BB0A1C32}" type="slidenum">
              <a:rPr lang="en-US" smtClean="0"/>
              <a:t>10</a:t>
            </a:fld>
            <a:endParaRPr lang="en-US"/>
          </a:p>
        </p:txBody>
      </p:sp>
      <p:pic>
        <p:nvPicPr>
          <p:cNvPr id="3" name="Picture 3" descr="A group of people standing next to a person with a helmet on&#10;&#10;Description generated with very high confidence">
            <a:extLst>
              <a:ext uri="{FF2B5EF4-FFF2-40B4-BE49-F238E27FC236}">
                <a16:creationId xmlns:a16="http://schemas.microsoft.com/office/drawing/2014/main" id="{4873799D-21CB-4080-8587-59AEBDCE1727}"/>
              </a:ext>
            </a:extLst>
          </p:cNvPr>
          <p:cNvPicPr>
            <a:picLocks noChangeAspect="1"/>
          </p:cNvPicPr>
          <p:nvPr/>
        </p:nvPicPr>
        <p:blipFill>
          <a:blip r:embed="rId2"/>
          <a:stretch>
            <a:fillRect/>
          </a:stretch>
        </p:blipFill>
        <p:spPr>
          <a:xfrm>
            <a:off x="-2821" y="3192"/>
            <a:ext cx="12197643" cy="6844560"/>
          </a:xfrm>
          <a:prstGeom prst="rect">
            <a:avLst/>
          </a:prstGeom>
        </p:spPr>
      </p:pic>
    </p:spTree>
    <p:extLst>
      <p:ext uri="{BB962C8B-B14F-4D97-AF65-F5344CB8AC3E}">
        <p14:creationId xmlns:p14="http://schemas.microsoft.com/office/powerpoint/2010/main" val="3199071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4A08416-2C8E-9249-98A9-9948F676263D}"/>
              </a:ext>
            </a:extLst>
          </p:cNvPr>
          <p:cNvCxnSpPr/>
          <p:nvPr/>
        </p:nvCxnSpPr>
        <p:spPr>
          <a:xfrm>
            <a:off x="363747" y="6504961"/>
            <a:ext cx="11336262" cy="0"/>
          </a:xfrm>
          <a:prstGeom prst="line">
            <a:avLst/>
          </a:prstGeom>
          <a:ln>
            <a:solidFill>
              <a:srgbClr val="373334"/>
            </a:solidFill>
          </a:ln>
        </p:spPr>
        <p:style>
          <a:lnRef idx="1">
            <a:schemeClr val="accent1"/>
          </a:lnRef>
          <a:fillRef idx="0">
            <a:schemeClr val="accent1"/>
          </a:fillRef>
          <a:effectRef idx="0">
            <a:schemeClr val="accent1"/>
          </a:effectRef>
          <a:fontRef idx="minor">
            <a:schemeClr val="tx1"/>
          </a:fontRef>
        </p:style>
      </p:cxnSp>
      <p:pic>
        <p:nvPicPr>
          <p:cNvPr id="3" name="Picture 2" descr="A screenshot of a cell phone&#10;&#10;Description automatically generated">
            <a:extLst>
              <a:ext uri="{FF2B5EF4-FFF2-40B4-BE49-F238E27FC236}">
                <a16:creationId xmlns:a16="http://schemas.microsoft.com/office/drawing/2014/main" id="{FC7C203A-B1F7-1D43-A77D-E91D342926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708" y="1027951"/>
            <a:ext cx="6549207" cy="1614592"/>
          </a:xfrm>
          <a:prstGeom prst="rect">
            <a:avLst/>
          </a:prstGeom>
        </p:spPr>
      </p:pic>
      <p:sp>
        <p:nvSpPr>
          <p:cNvPr id="6" name="TextBox 5">
            <a:extLst>
              <a:ext uri="{FF2B5EF4-FFF2-40B4-BE49-F238E27FC236}">
                <a16:creationId xmlns:a16="http://schemas.microsoft.com/office/drawing/2014/main" id="{22AC7FD3-969C-A24A-82D4-9830D7079FA2}"/>
              </a:ext>
            </a:extLst>
          </p:cNvPr>
          <p:cNvSpPr txBox="1"/>
          <p:nvPr/>
        </p:nvSpPr>
        <p:spPr>
          <a:xfrm>
            <a:off x="10309125" y="5893442"/>
            <a:ext cx="1885725" cy="477054"/>
          </a:xfrm>
          <a:prstGeom prst="rect">
            <a:avLst/>
          </a:prstGeom>
          <a:noFill/>
        </p:spPr>
        <p:txBody>
          <a:bodyPr wrap="square" rtlCol="0" anchor="t">
            <a:spAutoFit/>
          </a:bodyPr>
          <a:lstStyle/>
          <a:p>
            <a:r>
              <a:rPr lang="en-US" sz="1600" b="1" dirty="0">
                <a:latin typeface="Century Gothic" panose="020B0502020202020204" pitchFamily="34" charset="0"/>
                <a:ea typeface="+mn-lt"/>
                <a:cs typeface="+mn-lt"/>
              </a:rPr>
              <a:t>Source: Footnote</a:t>
            </a:r>
            <a:endParaRPr lang="en-US" sz="1600" b="1" dirty="0">
              <a:latin typeface="Century Gothic" panose="020B0502020202020204" pitchFamily="34" charset="0"/>
              <a:cs typeface="Calibri Light"/>
            </a:endParaRPr>
          </a:p>
          <a:p>
            <a:endParaRPr lang="en-US" sz="900" dirty="0">
              <a:latin typeface="Century Gothic" panose="020B0502020202020204" pitchFamily="34" charset="0"/>
            </a:endParaRPr>
          </a:p>
        </p:txBody>
      </p:sp>
      <p:pic>
        <p:nvPicPr>
          <p:cNvPr id="19" name="Picture 18" descr="A picture containing indoor, table&#10;&#10;Description automatically generated">
            <a:extLst>
              <a:ext uri="{FF2B5EF4-FFF2-40B4-BE49-F238E27FC236}">
                <a16:creationId xmlns:a16="http://schemas.microsoft.com/office/drawing/2014/main" id="{1A9EC2E3-F0C5-F443-A3FA-826A5A0FB1C3}"/>
              </a:ext>
            </a:extLst>
          </p:cNvPr>
          <p:cNvPicPr>
            <a:picLocks noChangeAspect="1"/>
          </p:cNvPicPr>
          <p:nvPr/>
        </p:nvPicPr>
        <p:blipFill rotWithShape="1">
          <a:blip r:embed="rId4">
            <a:extLst>
              <a:ext uri="{28A0092B-C50C-407E-A947-70E740481C1C}">
                <a14:useLocalDpi xmlns:a14="http://schemas.microsoft.com/office/drawing/2010/main" val="0"/>
              </a:ext>
            </a:extLst>
          </a:blip>
          <a:srcRect b="71142"/>
          <a:stretch/>
        </p:blipFill>
        <p:spPr>
          <a:xfrm>
            <a:off x="-429586" y="7942364"/>
            <a:ext cx="5223371" cy="1289353"/>
          </a:xfrm>
          <a:prstGeom prst="rect">
            <a:avLst/>
          </a:prstGeom>
        </p:spPr>
      </p:pic>
      <p:pic>
        <p:nvPicPr>
          <p:cNvPr id="23" name="Picture 22" descr="A screenshot of a cell phone&#10;&#10;Description automatically generated">
            <a:extLst>
              <a:ext uri="{FF2B5EF4-FFF2-40B4-BE49-F238E27FC236}">
                <a16:creationId xmlns:a16="http://schemas.microsoft.com/office/drawing/2014/main" id="{781AB285-62D3-2248-BA36-EDF7DFEEB9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8378" y="2591645"/>
            <a:ext cx="5382720" cy="1599223"/>
          </a:xfrm>
          <a:prstGeom prst="rect">
            <a:avLst/>
          </a:prstGeom>
        </p:spPr>
      </p:pic>
      <p:pic>
        <p:nvPicPr>
          <p:cNvPr id="2" name="Picture 3" descr="A picture containing indoor, wall, black, photo&#10;&#10;Description generated with high confidence">
            <a:extLst>
              <a:ext uri="{FF2B5EF4-FFF2-40B4-BE49-F238E27FC236}">
                <a16:creationId xmlns:a16="http://schemas.microsoft.com/office/drawing/2014/main" id="{D8984E29-31BD-46C7-A53D-B8B7332B55A6}"/>
              </a:ext>
            </a:extLst>
          </p:cNvPr>
          <p:cNvPicPr>
            <a:picLocks noChangeAspect="1"/>
          </p:cNvPicPr>
          <p:nvPr/>
        </p:nvPicPr>
        <p:blipFill>
          <a:blip r:embed="rId6"/>
          <a:stretch>
            <a:fillRect/>
          </a:stretch>
        </p:blipFill>
        <p:spPr>
          <a:xfrm>
            <a:off x="7244861" y="910810"/>
            <a:ext cx="3830841" cy="2805762"/>
          </a:xfrm>
          <a:prstGeom prst="rect">
            <a:avLst/>
          </a:prstGeom>
        </p:spPr>
      </p:pic>
      <p:pic>
        <p:nvPicPr>
          <p:cNvPr id="5" name="Graphic 6" descr="Security camera">
            <a:extLst>
              <a:ext uri="{FF2B5EF4-FFF2-40B4-BE49-F238E27FC236}">
                <a16:creationId xmlns:a16="http://schemas.microsoft.com/office/drawing/2014/main" id="{6FAF4704-9CEE-480E-8C2C-16465819F33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1175146" y="2227"/>
            <a:ext cx="914400" cy="914400"/>
          </a:xfrm>
          <a:prstGeom prst="rect">
            <a:avLst/>
          </a:prstGeom>
        </p:spPr>
      </p:pic>
      <p:pic>
        <p:nvPicPr>
          <p:cNvPr id="8" name="Graphic 9" descr="Construction worker">
            <a:extLst>
              <a:ext uri="{FF2B5EF4-FFF2-40B4-BE49-F238E27FC236}">
                <a16:creationId xmlns:a16="http://schemas.microsoft.com/office/drawing/2014/main" id="{F412AFE7-3BC6-4E0D-A4BA-6DFD7FBDB4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99687" y="4911835"/>
            <a:ext cx="914400" cy="914400"/>
          </a:xfrm>
          <a:prstGeom prst="rect">
            <a:avLst/>
          </a:prstGeom>
        </p:spPr>
      </p:pic>
      <p:pic>
        <p:nvPicPr>
          <p:cNvPr id="21" name="Picture 21">
            <a:extLst>
              <a:ext uri="{FF2B5EF4-FFF2-40B4-BE49-F238E27FC236}">
                <a16:creationId xmlns:a16="http://schemas.microsoft.com/office/drawing/2014/main" id="{4830966F-C61D-49DB-99CD-6833EF3A00CC}"/>
              </a:ext>
            </a:extLst>
          </p:cNvPr>
          <p:cNvPicPr>
            <a:picLocks noChangeAspect="1"/>
          </p:cNvPicPr>
          <p:nvPr/>
        </p:nvPicPr>
        <p:blipFill>
          <a:blip r:embed="rId11"/>
          <a:stretch>
            <a:fillRect/>
          </a:stretch>
        </p:blipFill>
        <p:spPr>
          <a:xfrm>
            <a:off x="310540" y="4290331"/>
            <a:ext cx="4097866" cy="923529"/>
          </a:xfrm>
          <a:prstGeom prst="rect">
            <a:avLst/>
          </a:prstGeom>
        </p:spPr>
      </p:pic>
      <p:pic>
        <p:nvPicPr>
          <p:cNvPr id="24" name="Picture 24" descr="A close up of a logo&#10;&#10;Description generated with very high confidence">
            <a:extLst>
              <a:ext uri="{FF2B5EF4-FFF2-40B4-BE49-F238E27FC236}">
                <a16:creationId xmlns:a16="http://schemas.microsoft.com/office/drawing/2014/main" id="{8381B560-041A-433C-8D05-EB4BEA1BFE13}"/>
              </a:ext>
            </a:extLst>
          </p:cNvPr>
          <p:cNvPicPr>
            <a:picLocks noChangeAspect="1"/>
          </p:cNvPicPr>
          <p:nvPr/>
        </p:nvPicPr>
        <p:blipFill>
          <a:blip r:embed="rId12"/>
          <a:stretch>
            <a:fillRect/>
          </a:stretch>
        </p:blipFill>
        <p:spPr>
          <a:xfrm>
            <a:off x="310540" y="5356700"/>
            <a:ext cx="2743200" cy="775982"/>
          </a:xfrm>
          <a:prstGeom prst="rect">
            <a:avLst/>
          </a:prstGeom>
        </p:spPr>
      </p:pic>
      <p:pic>
        <p:nvPicPr>
          <p:cNvPr id="26" name="Picture 27" descr="A close up of a logo&#10;&#10;Description generated with very high confidence">
            <a:extLst>
              <a:ext uri="{FF2B5EF4-FFF2-40B4-BE49-F238E27FC236}">
                <a16:creationId xmlns:a16="http://schemas.microsoft.com/office/drawing/2014/main" id="{25B77671-B21E-4957-A73A-0804600696EE}"/>
              </a:ext>
            </a:extLst>
          </p:cNvPr>
          <p:cNvPicPr>
            <a:picLocks noChangeAspect="1"/>
          </p:cNvPicPr>
          <p:nvPr/>
        </p:nvPicPr>
        <p:blipFill>
          <a:blip r:embed="rId13"/>
          <a:stretch>
            <a:fillRect/>
          </a:stretch>
        </p:blipFill>
        <p:spPr>
          <a:xfrm>
            <a:off x="6808299" y="4059920"/>
            <a:ext cx="4711699" cy="774461"/>
          </a:xfrm>
          <a:prstGeom prst="rect">
            <a:avLst/>
          </a:prstGeom>
        </p:spPr>
      </p:pic>
      <p:sp>
        <p:nvSpPr>
          <p:cNvPr id="7" name="Slide Number Placeholder 6">
            <a:extLst>
              <a:ext uri="{FF2B5EF4-FFF2-40B4-BE49-F238E27FC236}">
                <a16:creationId xmlns:a16="http://schemas.microsoft.com/office/drawing/2014/main" id="{064E5D25-2483-4BEA-B04B-CF104E90EEC1}"/>
              </a:ext>
            </a:extLst>
          </p:cNvPr>
          <p:cNvSpPr>
            <a:spLocks noGrp="1"/>
          </p:cNvSpPr>
          <p:nvPr>
            <p:ph type="sldNum" sz="quarter" idx="33"/>
          </p:nvPr>
        </p:nvSpPr>
        <p:spPr/>
        <p:txBody>
          <a:bodyPr/>
          <a:lstStyle/>
          <a:p>
            <a:fld id="{330EA680-D336-4FF7-8B7A-9848BB0A1C32}" type="slidenum">
              <a:rPr lang="en-US" smtClean="0"/>
              <a:t>2</a:t>
            </a:fld>
            <a:endParaRPr lang="en-US"/>
          </a:p>
        </p:txBody>
      </p:sp>
      <p:pic>
        <p:nvPicPr>
          <p:cNvPr id="4" name="Graphic 9" descr="Eye">
            <a:extLst>
              <a:ext uri="{FF2B5EF4-FFF2-40B4-BE49-F238E27FC236}">
                <a16:creationId xmlns:a16="http://schemas.microsoft.com/office/drawing/2014/main" id="{394BF6E3-AA73-4993-9B7D-E9EF6FC6502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194550" y="4913056"/>
            <a:ext cx="914400" cy="914400"/>
          </a:xfrm>
          <a:prstGeom prst="rect">
            <a:avLst/>
          </a:prstGeom>
        </p:spPr>
      </p:pic>
      <p:pic>
        <p:nvPicPr>
          <p:cNvPr id="20" name="Graphic 24" descr="Business Growth">
            <a:extLst>
              <a:ext uri="{FF2B5EF4-FFF2-40B4-BE49-F238E27FC236}">
                <a16:creationId xmlns:a16="http://schemas.microsoft.com/office/drawing/2014/main" id="{2C9BCBD4-4292-4E7B-B6D6-932FF6F0B84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115300" y="4913056"/>
            <a:ext cx="914400" cy="914400"/>
          </a:xfrm>
          <a:prstGeom prst="rect">
            <a:avLst/>
          </a:prstGeom>
        </p:spPr>
      </p:pic>
      <p:pic>
        <p:nvPicPr>
          <p:cNvPr id="27" name="Graphic 27" descr="Money">
            <a:extLst>
              <a:ext uri="{FF2B5EF4-FFF2-40B4-BE49-F238E27FC236}">
                <a16:creationId xmlns:a16="http://schemas.microsoft.com/office/drawing/2014/main" id="{9C6E4873-7131-46BF-B1C0-C9B87D676E4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909175" y="4905119"/>
            <a:ext cx="914400" cy="914400"/>
          </a:xfrm>
          <a:prstGeom prst="rect">
            <a:avLst/>
          </a:prstGeom>
        </p:spPr>
      </p:pic>
      <p:sp>
        <p:nvSpPr>
          <p:cNvPr id="28" name="TextBox 27">
            <a:extLst>
              <a:ext uri="{FF2B5EF4-FFF2-40B4-BE49-F238E27FC236}">
                <a16:creationId xmlns:a16="http://schemas.microsoft.com/office/drawing/2014/main" id="{1295B3DB-72BB-44C9-96F0-55524CC88D2D}"/>
              </a:ext>
            </a:extLst>
          </p:cNvPr>
          <p:cNvSpPr txBox="1"/>
          <p:nvPr/>
        </p:nvSpPr>
        <p:spPr>
          <a:xfrm>
            <a:off x="448887" y="406656"/>
            <a:ext cx="11531853" cy="584775"/>
          </a:xfrm>
          <a:prstGeom prst="rect">
            <a:avLst/>
          </a:prstGeom>
          <a:noFill/>
        </p:spPr>
        <p:txBody>
          <a:bodyPr wrap="square" rtlCol="0" anchor="t">
            <a:spAutoFit/>
          </a:bodyPr>
          <a:lstStyle/>
          <a:p>
            <a:r>
              <a:rPr lang="en-US" sz="3200" b="1" dirty="0">
                <a:solidFill>
                  <a:srgbClr val="FF0000"/>
                </a:solidFill>
                <a:latin typeface="Century Gothic" panose="020B0502020202020204" pitchFamily="34" charset="0"/>
                <a:cs typeface="Arial"/>
              </a:rPr>
              <a:t>(un)</a:t>
            </a:r>
            <a:r>
              <a:rPr lang="en-US" sz="3200" b="1" dirty="0">
                <a:solidFill>
                  <a:srgbClr val="373334"/>
                </a:solidFill>
                <a:latin typeface="Century Gothic" panose="020B0502020202020204" pitchFamily="34" charset="0"/>
                <a:cs typeface="Arial"/>
              </a:rPr>
              <a:t>Safe Conduct</a:t>
            </a:r>
            <a:endParaRPr lang="ru-RU" sz="3200" b="1" dirty="0">
              <a:solidFill>
                <a:srgbClr val="373334"/>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752216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750"/>
                                        <p:tgtEl>
                                          <p:spTgt spid="26"/>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750"/>
                                        <p:tgtEl>
                                          <p:spTgt spid="24"/>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750"/>
                                        <p:tgtEl>
                                          <p:spTgt spid="21"/>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750"/>
                                        <p:tgtEl>
                                          <p:spTgt spid="23"/>
                                        </p:tgtEl>
                                      </p:cBhvr>
                                    </p:animEffect>
                                  </p:childTnLst>
                                </p:cTn>
                              </p:par>
                            </p:childTnLst>
                          </p:cTn>
                        </p:par>
                        <p:par>
                          <p:cTn id="28" fill="hold">
                            <p:stCondLst>
                              <p:cond delay="4500"/>
                            </p:stCondLst>
                            <p:childTnLst>
                              <p:par>
                                <p:cTn id="29" presetID="10"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750"/>
                                        <p:tgtEl>
                                          <p:spTgt spid="4"/>
                                        </p:tgtEl>
                                      </p:cBhvr>
                                    </p:animEffect>
                                  </p:childTnLst>
                                </p:cTn>
                              </p:par>
                              <p:par>
                                <p:cTn id="32" presetID="10" presetClass="entr" presetSubtype="0" fill="hold"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750"/>
                                        <p:tgtEl>
                                          <p:spTgt spid="20"/>
                                        </p:tgtEl>
                                      </p:cBhvr>
                                    </p:animEffect>
                                  </p:childTnLst>
                                </p:cTn>
                              </p:par>
                              <p:par>
                                <p:cTn id="35" presetID="10"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750"/>
                                        <p:tgtEl>
                                          <p:spTgt spid="8"/>
                                        </p:tgtEl>
                                      </p:cBhvr>
                                    </p:animEffect>
                                  </p:childTnLst>
                                </p:cTn>
                              </p:par>
                              <p:par>
                                <p:cTn id="38" presetID="10" presetClass="entr" presetSubtype="0" fill="hold"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7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B266333-4B91-4824-B5EC-3BD3B38E3007}"/>
              </a:ext>
            </a:extLst>
          </p:cNvPr>
          <p:cNvSpPr/>
          <p:nvPr/>
        </p:nvSpPr>
        <p:spPr>
          <a:xfrm>
            <a:off x="225790" y="6543881"/>
            <a:ext cx="8305800" cy="230832"/>
          </a:xfrm>
          <a:prstGeom prst="rect">
            <a:avLst/>
          </a:prstGeom>
        </p:spPr>
        <p:txBody>
          <a:bodyPr wrap="square" anchor="t">
            <a:spAutoFit/>
          </a:bodyPr>
          <a:lstStyle/>
          <a:p>
            <a:endParaRPr lang="en-US" sz="900">
              <a:cs typeface="Calibri Light"/>
            </a:endParaRPr>
          </a:p>
        </p:txBody>
      </p:sp>
      <p:cxnSp>
        <p:nvCxnSpPr>
          <p:cNvPr id="9" name="Straight Connector 8">
            <a:extLst>
              <a:ext uri="{FF2B5EF4-FFF2-40B4-BE49-F238E27FC236}">
                <a16:creationId xmlns:a16="http://schemas.microsoft.com/office/drawing/2014/main" id="{E4A08416-2C8E-9249-98A9-9948F676263D}"/>
              </a:ext>
            </a:extLst>
          </p:cNvPr>
          <p:cNvCxnSpPr/>
          <p:nvPr/>
        </p:nvCxnSpPr>
        <p:spPr>
          <a:xfrm>
            <a:off x="291922" y="6508350"/>
            <a:ext cx="11360013" cy="12807"/>
          </a:xfrm>
          <a:prstGeom prst="line">
            <a:avLst/>
          </a:prstGeom>
          <a:ln>
            <a:solidFill>
              <a:srgbClr val="373334"/>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6B21A66-AA48-AF4E-95B5-02A8F41CD961}"/>
              </a:ext>
            </a:extLst>
          </p:cNvPr>
          <p:cNvSpPr txBox="1"/>
          <p:nvPr/>
        </p:nvSpPr>
        <p:spPr>
          <a:xfrm>
            <a:off x="448887" y="406656"/>
            <a:ext cx="11531853" cy="584775"/>
          </a:xfrm>
          <a:prstGeom prst="rect">
            <a:avLst/>
          </a:prstGeom>
          <a:noFill/>
        </p:spPr>
        <p:txBody>
          <a:bodyPr wrap="square" rtlCol="0" anchor="t">
            <a:spAutoFit/>
          </a:bodyPr>
          <a:lstStyle/>
          <a:p>
            <a:r>
              <a:rPr lang="en-US" sz="3200" b="1" dirty="0">
                <a:solidFill>
                  <a:srgbClr val="373334"/>
                </a:solidFill>
                <a:latin typeface="Century Gothic" panose="020B0502020202020204" pitchFamily="34" charset="0"/>
                <a:cs typeface="Arial"/>
              </a:rPr>
              <a:t>Playing It </a:t>
            </a:r>
            <a:r>
              <a:rPr lang="en-US" sz="3200" b="1" dirty="0">
                <a:solidFill>
                  <a:srgbClr val="FF0000"/>
                </a:solidFill>
                <a:latin typeface="Century Gothic" panose="020B0502020202020204" pitchFamily="34" charset="0"/>
                <a:cs typeface="Arial"/>
              </a:rPr>
              <a:t>(un)</a:t>
            </a:r>
            <a:r>
              <a:rPr lang="en-US" sz="3200" b="1" dirty="0">
                <a:solidFill>
                  <a:srgbClr val="373334"/>
                </a:solidFill>
                <a:latin typeface="Century Gothic" panose="020B0502020202020204" pitchFamily="34" charset="0"/>
                <a:cs typeface="Arial"/>
              </a:rPr>
              <a:t>Safe</a:t>
            </a:r>
            <a:endParaRPr lang="ru-RU" sz="3200" b="1" dirty="0">
              <a:solidFill>
                <a:srgbClr val="373334"/>
              </a:solidFill>
              <a:latin typeface="Century Gothic" panose="020B0502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5429E375-E815-4531-B153-B71F4CE52AEF}"/>
              </a:ext>
            </a:extLst>
          </p:cNvPr>
          <p:cNvSpPr>
            <a:spLocks noGrp="1"/>
          </p:cNvSpPr>
          <p:nvPr>
            <p:ph type="sldNum" sz="quarter" idx="33"/>
          </p:nvPr>
        </p:nvSpPr>
        <p:spPr/>
        <p:txBody>
          <a:bodyPr/>
          <a:lstStyle/>
          <a:p>
            <a:fld id="{330EA680-D336-4FF7-8B7A-9848BB0A1C32}" type="slidenum">
              <a:rPr lang="en-US" smtClean="0"/>
              <a:t>3</a:t>
            </a:fld>
            <a:endParaRPr lang="en-US"/>
          </a:p>
        </p:txBody>
      </p:sp>
      <p:cxnSp>
        <p:nvCxnSpPr>
          <p:cNvPr id="108" name="Straight Connector 107">
            <a:extLst>
              <a:ext uri="{FF2B5EF4-FFF2-40B4-BE49-F238E27FC236}">
                <a16:creationId xmlns:a16="http://schemas.microsoft.com/office/drawing/2014/main" id="{E20583DB-B426-4EE8-91FA-3D63F0D5756F}"/>
              </a:ext>
            </a:extLst>
          </p:cNvPr>
          <p:cNvCxnSpPr/>
          <p:nvPr>
            <p:custDataLst>
              <p:tags r:id="rId1"/>
            </p:custDataLst>
          </p:nvPr>
        </p:nvCxnSpPr>
        <p:spPr bwMode="gray">
          <a:xfrm>
            <a:off x="6669088" y="3411538"/>
            <a:ext cx="4856163"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C8FB791-95D6-45BF-870C-5A02DC4FAF4B}"/>
              </a:ext>
            </a:extLst>
          </p:cNvPr>
          <p:cNvCxnSpPr/>
          <p:nvPr>
            <p:custDataLst>
              <p:tags r:id="rId2"/>
            </p:custDataLst>
          </p:nvPr>
        </p:nvCxnSpPr>
        <p:spPr bwMode="gray">
          <a:xfrm>
            <a:off x="6669088" y="2994025"/>
            <a:ext cx="4856163"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6F0C2E92-56E7-4F69-A081-6F5CB2F66764}"/>
              </a:ext>
            </a:extLst>
          </p:cNvPr>
          <p:cNvCxnSpPr/>
          <p:nvPr>
            <p:custDataLst>
              <p:tags r:id="rId3"/>
            </p:custDataLst>
          </p:nvPr>
        </p:nvCxnSpPr>
        <p:spPr bwMode="gray">
          <a:xfrm>
            <a:off x="6669088" y="2576513"/>
            <a:ext cx="4856163"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73B54C9-B441-4143-899F-55B7F1AA9893}"/>
              </a:ext>
            </a:extLst>
          </p:cNvPr>
          <p:cNvCxnSpPr/>
          <p:nvPr>
            <p:custDataLst>
              <p:tags r:id="rId4"/>
            </p:custDataLst>
          </p:nvPr>
        </p:nvCxnSpPr>
        <p:spPr bwMode="gray">
          <a:xfrm>
            <a:off x="6669088" y="2159000"/>
            <a:ext cx="4856163"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12" name="Chart 111">
            <a:extLst>
              <a:ext uri="{FF2B5EF4-FFF2-40B4-BE49-F238E27FC236}">
                <a16:creationId xmlns:a16="http://schemas.microsoft.com/office/drawing/2014/main" id="{429AA712-79DA-4AC4-A5AB-81AF4576FED1}"/>
              </a:ext>
            </a:extLst>
          </p:cNvPr>
          <p:cNvGraphicFramePr/>
          <p:nvPr>
            <p:custDataLst>
              <p:tags r:id="rId5"/>
            </p:custDataLst>
          </p:nvPr>
        </p:nvGraphicFramePr>
        <p:xfrm>
          <a:off x="6191250" y="2046288"/>
          <a:ext cx="5416550" cy="1897062"/>
        </p:xfrm>
        <a:graphic>
          <a:graphicData uri="http://schemas.openxmlformats.org/drawingml/2006/chart">
            <c:chart xmlns:c="http://schemas.openxmlformats.org/drawingml/2006/chart" xmlns:r="http://schemas.openxmlformats.org/officeDocument/2006/relationships" r:id="rId73"/>
          </a:graphicData>
        </a:graphic>
      </p:graphicFrame>
      <p:sp>
        <p:nvSpPr>
          <p:cNvPr id="113" name="Text Placeholder 2">
            <a:extLst>
              <a:ext uri="{FF2B5EF4-FFF2-40B4-BE49-F238E27FC236}">
                <a16:creationId xmlns:a16="http://schemas.microsoft.com/office/drawing/2014/main" id="{D50ECFF2-85B3-4894-A10D-24565DCD8DA8}"/>
              </a:ext>
            </a:extLst>
          </p:cNvPr>
          <p:cNvSpPr>
            <a:spLocks noGrp="1"/>
          </p:cNvSpPr>
          <p:nvPr>
            <p:custDataLst>
              <p:tags r:id="rId6"/>
            </p:custDataLst>
          </p:nvPr>
        </p:nvSpPr>
        <p:spPr bwMode="auto">
          <a:xfrm>
            <a:off x="7107238" y="3879850"/>
            <a:ext cx="165100" cy="10287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AC2C580-1570-4D9D-8D40-9730A958AFE7}" type="datetime'F''a''''''''''ll ''fro''m h''''''''e''''''''i''''''ghts'''''''">
              <a:rPr lang="en-US" altLang="en-US" sz="1200" smtClean="0">
                <a:sym typeface="+mn-lt"/>
              </a:rPr>
              <a:pPr marL="0" indent="0" algn="r">
                <a:spcBef>
                  <a:spcPct val="0"/>
                </a:spcBef>
                <a:spcAft>
                  <a:spcPct val="0"/>
                </a:spcAft>
                <a:buNone/>
              </a:pPr>
              <a:t>Fall from heights</a:t>
            </a:fld>
            <a:endParaRPr lang="en-US" sz="1200" dirty="0">
              <a:sym typeface="+mn-lt"/>
            </a:endParaRPr>
          </a:p>
        </p:txBody>
      </p:sp>
      <p:sp>
        <p:nvSpPr>
          <p:cNvPr id="114" name="Text Placeholder 2">
            <a:extLst>
              <a:ext uri="{FF2B5EF4-FFF2-40B4-BE49-F238E27FC236}">
                <a16:creationId xmlns:a16="http://schemas.microsoft.com/office/drawing/2014/main" id="{9D20ABED-1370-4890-840E-1D1C1A75DD3A}"/>
              </a:ext>
            </a:extLst>
          </p:cNvPr>
          <p:cNvSpPr>
            <a:spLocks noGrp="1"/>
          </p:cNvSpPr>
          <p:nvPr>
            <p:custDataLst>
              <p:tags r:id="rId7"/>
            </p:custDataLst>
          </p:nvPr>
        </p:nvSpPr>
        <p:spPr bwMode="auto">
          <a:xfrm>
            <a:off x="6286500" y="1793875"/>
            <a:ext cx="7651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b="1" dirty="0">
                <a:solidFill>
                  <a:schemeClr val="accent2"/>
                </a:solidFill>
                <a:sym typeface="+mn-lt"/>
              </a:rPr>
              <a:t>N° of deaths</a:t>
            </a:r>
            <a:endParaRPr lang="en-US" sz="1200" b="1" dirty="0">
              <a:solidFill>
                <a:schemeClr val="accent2"/>
              </a:solidFill>
              <a:sym typeface="+mn-lt"/>
            </a:endParaRPr>
          </a:p>
        </p:txBody>
      </p:sp>
      <p:sp>
        <p:nvSpPr>
          <p:cNvPr id="115" name="Text Placeholder 2">
            <a:extLst>
              <a:ext uri="{FF2B5EF4-FFF2-40B4-BE49-F238E27FC236}">
                <a16:creationId xmlns:a16="http://schemas.microsoft.com/office/drawing/2014/main" id="{E07E0B21-7674-4C46-83EF-69DBD7442387}"/>
              </a:ext>
            </a:extLst>
          </p:cNvPr>
          <p:cNvSpPr>
            <a:spLocks noGrp="1"/>
          </p:cNvSpPr>
          <p:nvPr>
            <p:custDataLst>
              <p:tags r:id="rId8"/>
            </p:custDataLst>
          </p:nvPr>
        </p:nvSpPr>
        <p:spPr bwMode="auto">
          <a:xfrm>
            <a:off x="8494713" y="3879850"/>
            <a:ext cx="165100" cy="635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C2571D-10F9-4A01-A286-B380C7E67720}" type="datetime'''E''''xpl''''''''''''''''''''osi''''''v''''''''e''s'''''''">
              <a:rPr lang="en-US" altLang="en-US" sz="1200" smtClean="0">
                <a:sym typeface="+mn-lt"/>
              </a:rPr>
              <a:pPr marL="0" indent="0" algn="r">
                <a:spcBef>
                  <a:spcPct val="0"/>
                </a:spcBef>
                <a:spcAft>
                  <a:spcPct val="0"/>
                </a:spcAft>
                <a:buNone/>
              </a:pPr>
              <a:t>Explosives</a:t>
            </a:fld>
            <a:endParaRPr lang="en-US" sz="1200" dirty="0">
              <a:sym typeface="+mn-lt"/>
            </a:endParaRPr>
          </a:p>
        </p:txBody>
      </p:sp>
      <p:sp>
        <p:nvSpPr>
          <p:cNvPr id="116" name="Text Placeholder 2">
            <a:extLst>
              <a:ext uri="{FF2B5EF4-FFF2-40B4-BE49-F238E27FC236}">
                <a16:creationId xmlns:a16="http://schemas.microsoft.com/office/drawing/2014/main" id="{DF2A919A-5995-4F6C-9C66-A194ECFFEDE9}"/>
              </a:ext>
            </a:extLst>
          </p:cNvPr>
          <p:cNvSpPr>
            <a:spLocks noGrp="1"/>
          </p:cNvSpPr>
          <p:nvPr>
            <p:custDataLst>
              <p:tags r:id="rId9"/>
            </p:custDataLst>
          </p:nvPr>
        </p:nvSpPr>
        <p:spPr bwMode="auto">
          <a:xfrm>
            <a:off x="8147050" y="3879850"/>
            <a:ext cx="165100" cy="7953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7059650-7D59-446C-8AF5-3F583CC5E973}" type="datetime'''''''''''''''H''''''''''i''''t ''by'''''' oth''''e''''r''s'">
              <a:rPr lang="en-US" altLang="en-US" sz="1200" smtClean="0">
                <a:sym typeface="+mn-lt"/>
              </a:rPr>
              <a:pPr marL="0" indent="0" algn="r">
                <a:spcBef>
                  <a:spcPct val="0"/>
                </a:spcBef>
                <a:spcAft>
                  <a:spcPct val="0"/>
                </a:spcAft>
                <a:buNone/>
              </a:pPr>
              <a:t>Hit by others</a:t>
            </a:fld>
            <a:endParaRPr lang="en-US" sz="1200" dirty="0">
              <a:sym typeface="+mn-lt"/>
            </a:endParaRPr>
          </a:p>
        </p:txBody>
      </p:sp>
      <p:sp>
        <p:nvSpPr>
          <p:cNvPr id="117" name="Text Placeholder 2">
            <a:extLst>
              <a:ext uri="{FF2B5EF4-FFF2-40B4-BE49-F238E27FC236}">
                <a16:creationId xmlns:a16="http://schemas.microsoft.com/office/drawing/2014/main" id="{9976A43B-8EA1-469F-840D-6D0BAC32B1AA}"/>
              </a:ext>
            </a:extLst>
          </p:cNvPr>
          <p:cNvSpPr>
            <a:spLocks noGrp="1"/>
          </p:cNvSpPr>
          <p:nvPr>
            <p:custDataLst>
              <p:tags r:id="rId10"/>
            </p:custDataLst>
          </p:nvPr>
        </p:nvSpPr>
        <p:spPr bwMode="auto">
          <a:xfrm>
            <a:off x="7800975" y="3879850"/>
            <a:ext cx="165100" cy="11318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AD1CBB-6CAC-4A6E-9729-D3354658F7AE}" type="datetime'Cr''''''''''''''''''u''s''hed'','''''''''' sm''''a''she''''d'">
              <a:rPr lang="en-US" altLang="en-US" sz="1200" smtClean="0">
                <a:sym typeface="+mn-lt"/>
              </a:rPr>
              <a:pPr marL="0" indent="0" algn="r">
                <a:spcBef>
                  <a:spcPct val="0"/>
                </a:spcBef>
                <a:spcAft>
                  <a:spcPct val="0"/>
                </a:spcAft>
                <a:buNone/>
              </a:pPr>
              <a:t>Crushed, smashed</a:t>
            </a:fld>
            <a:endParaRPr lang="en-US" sz="1200" dirty="0">
              <a:sym typeface="+mn-lt"/>
            </a:endParaRPr>
          </a:p>
        </p:txBody>
      </p:sp>
      <p:sp>
        <p:nvSpPr>
          <p:cNvPr id="118" name="Text Placeholder 2">
            <a:extLst>
              <a:ext uri="{FF2B5EF4-FFF2-40B4-BE49-F238E27FC236}">
                <a16:creationId xmlns:a16="http://schemas.microsoft.com/office/drawing/2014/main" id="{C861C12F-4605-4554-AA24-8124F37023AF}"/>
              </a:ext>
            </a:extLst>
          </p:cNvPr>
          <p:cNvSpPr>
            <a:spLocks noGrp="1"/>
          </p:cNvSpPr>
          <p:nvPr>
            <p:custDataLst>
              <p:tags r:id="rId11"/>
            </p:custDataLst>
          </p:nvPr>
        </p:nvSpPr>
        <p:spPr bwMode="auto">
          <a:xfrm>
            <a:off x="6759575" y="3879850"/>
            <a:ext cx="165100" cy="771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DA29F27-A9E2-442D-A2F4-79C7B0D988C5}" type="datetime'''H''''i''t b''y'''''''''''''''''' ''''''a r''''''o''''''ck'">
              <a:rPr lang="en-US" altLang="en-US" sz="1200" smtClean="0">
                <a:sym typeface="+mn-lt"/>
              </a:rPr>
              <a:pPr marL="0" indent="0" algn="r">
                <a:spcBef>
                  <a:spcPct val="0"/>
                </a:spcBef>
                <a:spcAft>
                  <a:spcPct val="0"/>
                </a:spcAft>
                <a:buNone/>
              </a:pPr>
              <a:t>Hit by a rock</a:t>
            </a:fld>
            <a:endParaRPr lang="en-US" sz="1200" dirty="0">
              <a:sym typeface="+mn-lt"/>
            </a:endParaRPr>
          </a:p>
        </p:txBody>
      </p:sp>
      <p:sp>
        <p:nvSpPr>
          <p:cNvPr id="119" name="Text Placeholder 2">
            <a:extLst>
              <a:ext uri="{FF2B5EF4-FFF2-40B4-BE49-F238E27FC236}">
                <a16:creationId xmlns:a16="http://schemas.microsoft.com/office/drawing/2014/main" id="{C97C9380-41AB-4353-9545-877D03EA77DB}"/>
              </a:ext>
            </a:extLst>
          </p:cNvPr>
          <p:cNvSpPr>
            <a:spLocks noGrp="1"/>
          </p:cNvSpPr>
          <p:nvPr>
            <p:custDataLst>
              <p:tags r:id="rId12"/>
            </p:custDataLst>
          </p:nvPr>
        </p:nvSpPr>
        <p:spPr bwMode="auto">
          <a:xfrm>
            <a:off x="7453313" y="3879850"/>
            <a:ext cx="165100" cy="487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85257B-EEA6-4090-917F-B16C93F57929}" type="datetime'''''C''''''ar'''' f''''''''''''''a''''''''''''ll''''''s'">
              <a:rPr lang="en-US" altLang="en-US" sz="1200" smtClean="0">
                <a:sym typeface="+mn-lt"/>
              </a:rPr>
              <a:pPr marL="0" indent="0" algn="r">
                <a:spcBef>
                  <a:spcPct val="0"/>
                </a:spcBef>
                <a:spcAft>
                  <a:spcPct val="0"/>
                </a:spcAft>
                <a:buNone/>
              </a:pPr>
              <a:t>Car falls</a:t>
            </a:fld>
            <a:endParaRPr lang="en-US" sz="1200" dirty="0">
              <a:sym typeface="+mn-lt"/>
            </a:endParaRPr>
          </a:p>
        </p:txBody>
      </p:sp>
      <p:sp>
        <p:nvSpPr>
          <p:cNvPr id="120" name="Text Placeholder 2">
            <a:extLst>
              <a:ext uri="{FF2B5EF4-FFF2-40B4-BE49-F238E27FC236}">
                <a16:creationId xmlns:a16="http://schemas.microsoft.com/office/drawing/2014/main" id="{45978398-8904-47CD-9AB6-963E952D7E04}"/>
              </a:ext>
            </a:extLst>
          </p:cNvPr>
          <p:cNvSpPr>
            <a:spLocks noGrp="1"/>
          </p:cNvSpPr>
          <p:nvPr>
            <p:custDataLst>
              <p:tags r:id="rId13"/>
            </p:custDataLst>
          </p:nvPr>
        </p:nvSpPr>
        <p:spPr bwMode="auto">
          <a:xfrm>
            <a:off x="8840788" y="3879850"/>
            <a:ext cx="165100" cy="8223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9AD24E-80B5-479D-8647-CBCF68200802}" type="datetime'E''l''''''ec''t''''ro''c''''''u''''''''''t''''i''''o''''''n'">
              <a:rPr lang="en-US" altLang="en-US" sz="1200" smtClean="0">
                <a:sym typeface="+mn-lt"/>
              </a:rPr>
              <a:pPr marL="0" indent="0" algn="r">
                <a:spcBef>
                  <a:spcPct val="0"/>
                </a:spcBef>
                <a:spcAft>
                  <a:spcPct val="0"/>
                </a:spcAft>
                <a:buNone/>
              </a:pPr>
              <a:t>Electrocution</a:t>
            </a:fld>
            <a:endParaRPr lang="en-US" sz="1200" dirty="0">
              <a:sym typeface="+mn-lt"/>
            </a:endParaRPr>
          </a:p>
        </p:txBody>
      </p:sp>
      <p:sp>
        <p:nvSpPr>
          <p:cNvPr id="121" name="Text Placeholder 2">
            <a:extLst>
              <a:ext uri="{FF2B5EF4-FFF2-40B4-BE49-F238E27FC236}">
                <a16:creationId xmlns:a16="http://schemas.microsoft.com/office/drawing/2014/main" id="{1EC42A69-673F-4675-B125-B25A792E97A3}"/>
              </a:ext>
            </a:extLst>
          </p:cNvPr>
          <p:cNvSpPr>
            <a:spLocks noGrp="1"/>
          </p:cNvSpPr>
          <p:nvPr>
            <p:custDataLst>
              <p:tags r:id="rId14"/>
            </p:custDataLst>
          </p:nvPr>
        </p:nvSpPr>
        <p:spPr bwMode="auto">
          <a:xfrm>
            <a:off x="9188450" y="3879850"/>
            <a:ext cx="165100" cy="9921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25C63A8-5E56-4E26-A429-F9D35AE05331}" type="datetime'Gas'' I''''''''''''nt''''ox''''i''cat''''ion'''''''">
              <a:rPr lang="en-US" altLang="en-US" sz="1200" smtClean="0">
                <a:sym typeface="+mn-lt"/>
              </a:rPr>
              <a:pPr marL="0" indent="0" algn="r">
                <a:spcBef>
                  <a:spcPct val="0"/>
                </a:spcBef>
                <a:spcAft>
                  <a:spcPct val="0"/>
                </a:spcAft>
                <a:buNone/>
              </a:pPr>
              <a:t>Gas Intoxication</a:t>
            </a:fld>
            <a:endParaRPr lang="en-US" sz="1200" dirty="0">
              <a:sym typeface="+mn-lt"/>
            </a:endParaRPr>
          </a:p>
        </p:txBody>
      </p:sp>
      <p:sp>
        <p:nvSpPr>
          <p:cNvPr id="122" name="Text Placeholder 2">
            <a:extLst>
              <a:ext uri="{FF2B5EF4-FFF2-40B4-BE49-F238E27FC236}">
                <a16:creationId xmlns:a16="http://schemas.microsoft.com/office/drawing/2014/main" id="{70C7BE27-3DF4-41FB-B534-32A5AB0EE1EB}"/>
              </a:ext>
            </a:extLst>
          </p:cNvPr>
          <p:cNvSpPr>
            <a:spLocks noGrp="1"/>
          </p:cNvSpPr>
          <p:nvPr>
            <p:custDataLst>
              <p:tags r:id="rId15"/>
            </p:custDataLst>
          </p:nvPr>
        </p:nvSpPr>
        <p:spPr bwMode="auto">
          <a:xfrm>
            <a:off x="9534525" y="3879850"/>
            <a:ext cx="165100" cy="4349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FB1F5DF-DCA9-4B9A-83E9-AC54C11894A4}" type="datetime'''''''S''''''uc''''''k''''e''''''d'''''''''''''">
              <a:rPr lang="en-US" altLang="en-US" sz="1200" smtClean="0">
                <a:sym typeface="+mn-lt"/>
              </a:rPr>
              <a:pPr marL="0" indent="0" algn="r">
                <a:spcBef>
                  <a:spcPct val="0"/>
                </a:spcBef>
                <a:spcAft>
                  <a:spcPct val="0"/>
                </a:spcAft>
                <a:buNone/>
              </a:pPr>
              <a:t>Sucked</a:t>
            </a:fld>
            <a:endParaRPr lang="en-US" sz="1200" dirty="0">
              <a:sym typeface="+mn-lt"/>
            </a:endParaRPr>
          </a:p>
        </p:txBody>
      </p:sp>
      <p:sp>
        <p:nvSpPr>
          <p:cNvPr id="123" name="Text Placeholder 2">
            <a:extLst>
              <a:ext uri="{FF2B5EF4-FFF2-40B4-BE49-F238E27FC236}">
                <a16:creationId xmlns:a16="http://schemas.microsoft.com/office/drawing/2014/main" id="{6F1012E6-10F6-4E59-90DC-0DC5BC4D5E3E}"/>
              </a:ext>
            </a:extLst>
          </p:cNvPr>
          <p:cNvSpPr>
            <a:spLocks noGrp="1"/>
          </p:cNvSpPr>
          <p:nvPr>
            <p:custDataLst>
              <p:tags r:id="rId16"/>
            </p:custDataLst>
          </p:nvPr>
        </p:nvSpPr>
        <p:spPr bwMode="auto">
          <a:xfrm>
            <a:off x="9882188" y="3879850"/>
            <a:ext cx="165100" cy="354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F7A3A7-2920-456C-AF2E-78E8B7B98F41}" type="datetime'''''''''''''''B''''''''''''''''''''u''''''''''''''r''''''ns'">
              <a:rPr lang="en-US" altLang="en-US" sz="1200" smtClean="0">
                <a:sym typeface="+mn-lt"/>
              </a:rPr>
              <a:pPr marL="0" indent="0" algn="r">
                <a:spcBef>
                  <a:spcPct val="0"/>
                </a:spcBef>
                <a:spcAft>
                  <a:spcPct val="0"/>
                </a:spcAft>
                <a:buNone/>
              </a:pPr>
              <a:t>Burns</a:t>
            </a:fld>
            <a:endParaRPr lang="en-US" sz="1200" dirty="0">
              <a:sym typeface="+mn-lt"/>
            </a:endParaRPr>
          </a:p>
        </p:txBody>
      </p:sp>
      <p:sp>
        <p:nvSpPr>
          <p:cNvPr id="124" name="Text Placeholder 2">
            <a:extLst>
              <a:ext uri="{FF2B5EF4-FFF2-40B4-BE49-F238E27FC236}">
                <a16:creationId xmlns:a16="http://schemas.microsoft.com/office/drawing/2014/main" id="{A7B41895-B86D-4EDC-BC66-01674252F2AF}"/>
              </a:ext>
            </a:extLst>
          </p:cNvPr>
          <p:cNvSpPr>
            <a:spLocks noGrp="1"/>
          </p:cNvSpPr>
          <p:nvPr>
            <p:custDataLst>
              <p:tags r:id="rId17"/>
            </p:custDataLst>
          </p:nvPr>
        </p:nvSpPr>
        <p:spPr bwMode="auto">
          <a:xfrm>
            <a:off x="10228263" y="3879850"/>
            <a:ext cx="165100" cy="663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9B7A8F2-5E81-4D8F-A6E8-6565AE63F4A5}" type="datetime'Im''''''me''''''r''''''''''''''s''''''io''''''''''''''n'''''''">
              <a:rPr lang="en-US" altLang="en-US" sz="1200" smtClean="0">
                <a:sym typeface="+mn-lt"/>
              </a:rPr>
              <a:pPr marL="0" indent="0" algn="r">
                <a:spcBef>
                  <a:spcPct val="0"/>
                </a:spcBef>
                <a:spcAft>
                  <a:spcPct val="0"/>
                </a:spcAft>
                <a:buNone/>
              </a:pPr>
              <a:t>Immersion</a:t>
            </a:fld>
            <a:endParaRPr lang="en-US" sz="1200" dirty="0">
              <a:sym typeface="+mn-lt"/>
            </a:endParaRPr>
          </a:p>
        </p:txBody>
      </p:sp>
      <p:sp>
        <p:nvSpPr>
          <p:cNvPr id="125" name="Text Placeholder 2">
            <a:extLst>
              <a:ext uri="{FF2B5EF4-FFF2-40B4-BE49-F238E27FC236}">
                <a16:creationId xmlns:a16="http://schemas.microsoft.com/office/drawing/2014/main" id="{E19460F4-5576-4766-A550-6D37FCF982B2}"/>
              </a:ext>
            </a:extLst>
          </p:cNvPr>
          <p:cNvSpPr>
            <a:spLocks noGrp="1"/>
          </p:cNvSpPr>
          <p:nvPr>
            <p:custDataLst>
              <p:tags r:id="rId18"/>
            </p:custDataLst>
          </p:nvPr>
        </p:nvSpPr>
        <p:spPr bwMode="auto">
          <a:xfrm>
            <a:off x="10575925" y="3879850"/>
            <a:ext cx="165100" cy="13287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1DCE34-347F-4D14-8D2F-0E8187A12BE3}" type="datetime'H''''i''''t by ''expl''''''''''''osive'''''''''' ''w''a''ve'''">
              <a:rPr lang="en-US" altLang="en-US" sz="1200" smtClean="0">
                <a:sym typeface="+mn-lt"/>
              </a:rPr>
              <a:pPr marL="0" indent="0" algn="r">
                <a:spcBef>
                  <a:spcPct val="0"/>
                </a:spcBef>
                <a:spcAft>
                  <a:spcPct val="0"/>
                </a:spcAft>
                <a:buNone/>
              </a:pPr>
              <a:t>Hit by explosive wave</a:t>
            </a:fld>
            <a:endParaRPr lang="en-US" sz="1200" dirty="0">
              <a:sym typeface="+mn-lt"/>
            </a:endParaRPr>
          </a:p>
        </p:txBody>
      </p:sp>
      <p:sp>
        <p:nvSpPr>
          <p:cNvPr id="126" name="Text Placeholder 2">
            <a:extLst>
              <a:ext uri="{FF2B5EF4-FFF2-40B4-BE49-F238E27FC236}">
                <a16:creationId xmlns:a16="http://schemas.microsoft.com/office/drawing/2014/main" id="{33D5EC2C-C0B6-49CC-BD23-43D5E2FB4E43}"/>
              </a:ext>
            </a:extLst>
          </p:cNvPr>
          <p:cNvSpPr>
            <a:spLocks noGrp="1"/>
          </p:cNvSpPr>
          <p:nvPr>
            <p:custDataLst>
              <p:tags r:id="rId19"/>
            </p:custDataLst>
          </p:nvPr>
        </p:nvSpPr>
        <p:spPr bwMode="auto">
          <a:xfrm>
            <a:off x="10922000" y="3879850"/>
            <a:ext cx="165100" cy="12414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66678B-C35C-4A91-A52C-75756C326315}" type="datetime'''''C''''''''''''o''''''v''e''''''re''d by m''a''t''eri''a''l'">
              <a:rPr lang="en-US" altLang="en-US" sz="1200" smtClean="0">
                <a:sym typeface="+mn-lt"/>
              </a:rPr>
              <a:pPr marL="0" indent="0" algn="r">
                <a:spcBef>
                  <a:spcPct val="0"/>
                </a:spcBef>
                <a:spcAft>
                  <a:spcPct val="0"/>
                </a:spcAft>
                <a:buNone/>
              </a:pPr>
              <a:t>Covered by material</a:t>
            </a:fld>
            <a:endParaRPr lang="en-US" sz="1200" dirty="0">
              <a:sym typeface="+mn-lt"/>
            </a:endParaRPr>
          </a:p>
        </p:txBody>
      </p:sp>
      <p:sp>
        <p:nvSpPr>
          <p:cNvPr id="127" name="Text Placeholder 2">
            <a:extLst>
              <a:ext uri="{FF2B5EF4-FFF2-40B4-BE49-F238E27FC236}">
                <a16:creationId xmlns:a16="http://schemas.microsoft.com/office/drawing/2014/main" id="{27DE780C-3B22-4906-A111-8BE9324F3F5D}"/>
              </a:ext>
            </a:extLst>
          </p:cNvPr>
          <p:cNvSpPr>
            <a:spLocks noGrp="1"/>
          </p:cNvSpPr>
          <p:nvPr>
            <p:custDataLst>
              <p:tags r:id="rId20"/>
            </p:custDataLst>
          </p:nvPr>
        </p:nvSpPr>
        <p:spPr bwMode="auto">
          <a:xfrm>
            <a:off x="11269663" y="3879850"/>
            <a:ext cx="165100" cy="812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6824C84-2E5D-421F-A170-7AB87AB62B47}" type="datetime'Hy''''''p''''o''''t''''''h''e''rm''i''''''''''''''''''''''a'''">
              <a:rPr lang="en-US" altLang="en-US" sz="1200" smtClean="0">
                <a:sym typeface="+mn-lt"/>
              </a:rPr>
              <a:pPr marL="0" indent="0" algn="r">
                <a:spcBef>
                  <a:spcPct val="0"/>
                </a:spcBef>
                <a:spcAft>
                  <a:spcPct val="0"/>
                </a:spcAft>
                <a:buNone/>
              </a:pPr>
              <a:t>Hypothermia</a:t>
            </a:fld>
            <a:endParaRPr lang="en-US" sz="1200" dirty="0">
              <a:sym typeface="+mn-lt"/>
            </a:endParaRPr>
          </a:p>
        </p:txBody>
      </p:sp>
      <p:sp useBgFill="1">
        <p:nvSpPr>
          <p:cNvPr id="128" name="Text Placeholder 2">
            <a:extLst>
              <a:ext uri="{FF2B5EF4-FFF2-40B4-BE49-F238E27FC236}">
                <a16:creationId xmlns:a16="http://schemas.microsoft.com/office/drawing/2014/main" id="{FE4AB13C-AFEF-47C9-ADEC-42BA2536573F}"/>
              </a:ext>
            </a:extLst>
          </p:cNvPr>
          <p:cNvSpPr>
            <a:spLocks noGrp="1"/>
          </p:cNvSpPr>
          <p:nvPr>
            <p:custDataLst>
              <p:tags r:id="rId21"/>
            </p:custDataLst>
          </p:nvPr>
        </p:nvSpPr>
        <p:spPr bwMode="gray">
          <a:xfrm>
            <a:off x="7089775" y="2921000"/>
            <a:ext cx="200025" cy="165100"/>
          </a:xfrm>
          <a:prstGeom prst="rect">
            <a:avLst/>
          </a:prstGeom>
          <a:ln>
            <a:noFill/>
          </a:ln>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50B598-D8FA-47F6-B727-6C21CB0EBF8A}" type="datetime'''''''''''''''''''''''''''''''''''''''''''''8''6'''''''">
              <a:rPr lang="en-US" altLang="en-US" sz="1200" smtClean="0">
                <a:sym typeface="+mn-lt"/>
              </a:rPr>
              <a:pPr marL="0" indent="0" algn="ctr">
                <a:spcBef>
                  <a:spcPct val="0"/>
                </a:spcBef>
                <a:spcAft>
                  <a:spcPct val="0"/>
                </a:spcAft>
                <a:buNone/>
              </a:pPr>
              <a:t>86</a:t>
            </a:fld>
            <a:endParaRPr lang="en-US" sz="1200" dirty="0">
              <a:sym typeface="+mn-lt"/>
            </a:endParaRPr>
          </a:p>
        </p:txBody>
      </p:sp>
      <p:sp useBgFill="1">
        <p:nvSpPr>
          <p:cNvPr id="129" name="Text Placeholder 2">
            <a:extLst>
              <a:ext uri="{FF2B5EF4-FFF2-40B4-BE49-F238E27FC236}">
                <a16:creationId xmlns:a16="http://schemas.microsoft.com/office/drawing/2014/main" id="{96C70966-2184-4B02-B075-8FBFA7C0CE79}"/>
              </a:ext>
            </a:extLst>
          </p:cNvPr>
          <p:cNvSpPr>
            <a:spLocks noGrp="1"/>
          </p:cNvSpPr>
          <p:nvPr>
            <p:custDataLst>
              <p:tags r:id="rId22"/>
            </p:custDataLst>
          </p:nvPr>
        </p:nvSpPr>
        <p:spPr bwMode="gray">
          <a:xfrm>
            <a:off x="8129588" y="3305175"/>
            <a:ext cx="200025" cy="165100"/>
          </a:xfrm>
          <a:prstGeom prst="rect">
            <a:avLst/>
          </a:prstGeom>
          <a:ln>
            <a:noFill/>
          </a:ln>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1A630CA-944A-47F5-8694-385469265097}" type="datetime'''''''''''4''''''''''''''''''''''''''''0'''''''''''''''''">
              <a:rPr lang="en-US" altLang="en-US" sz="1200" smtClean="0">
                <a:sym typeface="+mn-lt"/>
              </a:rPr>
              <a:pPr marL="0" indent="0" algn="ctr">
                <a:spcBef>
                  <a:spcPct val="0"/>
                </a:spcBef>
                <a:spcAft>
                  <a:spcPct val="0"/>
                </a:spcAft>
                <a:buNone/>
              </a:pPr>
              <a:t>40</a:t>
            </a:fld>
            <a:endParaRPr lang="en-US" sz="1200" dirty="0">
              <a:sym typeface="+mn-lt"/>
            </a:endParaRPr>
          </a:p>
        </p:txBody>
      </p:sp>
      <p:sp>
        <p:nvSpPr>
          <p:cNvPr id="130" name="Rectangle 129">
            <a:extLst>
              <a:ext uri="{FF2B5EF4-FFF2-40B4-BE49-F238E27FC236}">
                <a16:creationId xmlns:a16="http://schemas.microsoft.com/office/drawing/2014/main" id="{9988891C-870C-4CBC-9A98-DE4A71C54DD4}"/>
              </a:ext>
            </a:extLst>
          </p:cNvPr>
          <p:cNvSpPr/>
          <p:nvPr/>
        </p:nvSpPr>
        <p:spPr>
          <a:xfrm>
            <a:off x="6210300" y="1238250"/>
            <a:ext cx="4602163" cy="523875"/>
          </a:xfrm>
          <a:prstGeom prst="rect">
            <a:avLst/>
          </a:prstGeom>
        </p:spPr>
        <p:txBody>
          <a:bodyPr wrap="square">
            <a:spAutoFit/>
          </a:bodyPr>
          <a:lstStyle/>
          <a:p>
            <a:pPr>
              <a:defRPr sz="1400" b="0" i="0" u="none" strike="noStrike" kern="1200" spc="0" baseline="0">
                <a:solidFill>
                  <a:srgbClr val="373334"/>
                </a:solidFill>
                <a:latin typeface="Arial" panose="020B0604020202020204" pitchFamily="34" charset="0"/>
                <a:ea typeface="+mn-ea"/>
                <a:cs typeface="Arial" panose="020B0604020202020204" pitchFamily="34" charset="0"/>
              </a:defRPr>
            </a:pPr>
            <a:r>
              <a:rPr lang="en-US" b="1" dirty="0">
                <a:solidFill>
                  <a:srgbClr val="373334"/>
                </a:solidFill>
                <a:latin typeface="Arial" panose="020B0604020202020204" pitchFamily="34" charset="0"/>
                <a:cs typeface="Arial" panose="020B0604020202020204" pitchFamily="34" charset="0"/>
              </a:rPr>
              <a:t>Number of fatalities in mining industry by accident type, 2000-2016, Chile</a:t>
            </a:r>
          </a:p>
        </p:txBody>
      </p:sp>
      <p:cxnSp>
        <p:nvCxnSpPr>
          <p:cNvPr id="131" name="Straight Connector 130">
            <a:extLst>
              <a:ext uri="{FF2B5EF4-FFF2-40B4-BE49-F238E27FC236}">
                <a16:creationId xmlns:a16="http://schemas.microsoft.com/office/drawing/2014/main" id="{DE5BFFE3-3B4F-48DA-9E99-995D5A956A1E}"/>
              </a:ext>
            </a:extLst>
          </p:cNvPr>
          <p:cNvCxnSpPr/>
          <p:nvPr>
            <p:custDataLst>
              <p:tags r:id="rId23"/>
            </p:custDataLst>
          </p:nvPr>
        </p:nvCxnSpPr>
        <p:spPr bwMode="gray">
          <a:xfrm>
            <a:off x="709613" y="2605088"/>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3738E30-1CDF-4F3E-AB70-63578576B623}"/>
              </a:ext>
            </a:extLst>
          </p:cNvPr>
          <p:cNvCxnSpPr/>
          <p:nvPr>
            <p:custDataLst>
              <p:tags r:id="rId24"/>
            </p:custDataLst>
          </p:nvPr>
        </p:nvCxnSpPr>
        <p:spPr bwMode="gray">
          <a:xfrm>
            <a:off x="709613" y="3521075"/>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842D9683-56C5-4A83-848E-A8E2FC000E05}"/>
              </a:ext>
            </a:extLst>
          </p:cNvPr>
          <p:cNvCxnSpPr/>
          <p:nvPr>
            <p:custDataLst>
              <p:tags r:id="rId25"/>
            </p:custDataLst>
          </p:nvPr>
        </p:nvCxnSpPr>
        <p:spPr bwMode="gray">
          <a:xfrm>
            <a:off x="709613" y="2146300"/>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74FEF968-E3E4-46C2-AE57-FAEA7C00F977}"/>
              </a:ext>
            </a:extLst>
          </p:cNvPr>
          <p:cNvCxnSpPr/>
          <p:nvPr>
            <p:custDataLst>
              <p:tags r:id="rId26"/>
            </p:custDataLst>
          </p:nvPr>
        </p:nvCxnSpPr>
        <p:spPr bwMode="gray">
          <a:xfrm>
            <a:off x="709613" y="3749675"/>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73C2E722-FA42-465A-AA2A-037A12BF1E89}"/>
              </a:ext>
            </a:extLst>
          </p:cNvPr>
          <p:cNvCxnSpPr/>
          <p:nvPr>
            <p:custDataLst>
              <p:tags r:id="rId27"/>
            </p:custDataLst>
          </p:nvPr>
        </p:nvCxnSpPr>
        <p:spPr bwMode="gray">
          <a:xfrm>
            <a:off x="709613" y="3979863"/>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1E4E9064-471D-4130-BE02-C692A82F22B8}"/>
              </a:ext>
            </a:extLst>
          </p:cNvPr>
          <p:cNvCxnSpPr/>
          <p:nvPr>
            <p:custDataLst>
              <p:tags r:id="rId28"/>
            </p:custDataLst>
          </p:nvPr>
        </p:nvCxnSpPr>
        <p:spPr bwMode="gray">
          <a:xfrm>
            <a:off x="709613" y="3292475"/>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8DE484D5-B1BF-45BF-85A8-CE80AB3D9901}"/>
              </a:ext>
            </a:extLst>
          </p:cNvPr>
          <p:cNvCxnSpPr/>
          <p:nvPr>
            <p:custDataLst>
              <p:tags r:id="rId29"/>
            </p:custDataLst>
          </p:nvPr>
        </p:nvCxnSpPr>
        <p:spPr bwMode="gray">
          <a:xfrm>
            <a:off x="709613" y="2833688"/>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390C8D7-DD4D-4197-B511-195D8A95E552}"/>
              </a:ext>
            </a:extLst>
          </p:cNvPr>
          <p:cNvCxnSpPr/>
          <p:nvPr>
            <p:custDataLst>
              <p:tags r:id="rId30"/>
            </p:custDataLst>
          </p:nvPr>
        </p:nvCxnSpPr>
        <p:spPr bwMode="gray">
          <a:xfrm>
            <a:off x="709613" y="1917700"/>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4596599-0974-4080-A9A1-97396869139B}"/>
              </a:ext>
            </a:extLst>
          </p:cNvPr>
          <p:cNvCxnSpPr/>
          <p:nvPr>
            <p:custDataLst>
              <p:tags r:id="rId31"/>
            </p:custDataLst>
          </p:nvPr>
        </p:nvCxnSpPr>
        <p:spPr bwMode="gray">
          <a:xfrm>
            <a:off x="709613" y="2376488"/>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C08E8A57-2093-4FB9-98BD-306409E835A7}"/>
              </a:ext>
            </a:extLst>
          </p:cNvPr>
          <p:cNvCxnSpPr/>
          <p:nvPr>
            <p:custDataLst>
              <p:tags r:id="rId32"/>
            </p:custDataLst>
          </p:nvPr>
        </p:nvCxnSpPr>
        <p:spPr bwMode="gray">
          <a:xfrm>
            <a:off x="709613" y="3063875"/>
            <a:ext cx="4446588"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1" name="Chart 140">
            <a:extLst>
              <a:ext uri="{FF2B5EF4-FFF2-40B4-BE49-F238E27FC236}">
                <a16:creationId xmlns:a16="http://schemas.microsoft.com/office/drawing/2014/main" id="{3B0CBF4D-8F66-4E92-B1DE-4654FD0E3B02}"/>
              </a:ext>
            </a:extLst>
          </p:cNvPr>
          <p:cNvGraphicFramePr/>
          <p:nvPr>
            <p:custDataLst>
              <p:tags r:id="rId33"/>
            </p:custDataLst>
          </p:nvPr>
        </p:nvGraphicFramePr>
        <p:xfrm>
          <a:off x="627063" y="1835150"/>
          <a:ext cx="4611687" cy="2455863"/>
        </p:xfrm>
        <a:graphic>
          <a:graphicData uri="http://schemas.openxmlformats.org/drawingml/2006/chart">
            <c:chart xmlns:c="http://schemas.openxmlformats.org/drawingml/2006/chart" xmlns:r="http://schemas.openxmlformats.org/officeDocument/2006/relationships" r:id="rId74"/>
          </a:graphicData>
        </a:graphic>
      </p:graphicFrame>
      <p:sp>
        <p:nvSpPr>
          <p:cNvPr id="142" name="Text Placeholder 2">
            <a:extLst>
              <a:ext uri="{FF2B5EF4-FFF2-40B4-BE49-F238E27FC236}">
                <a16:creationId xmlns:a16="http://schemas.microsoft.com/office/drawing/2014/main" id="{F443C40D-3C75-4E6C-9F2D-862AF4DBCA19}"/>
              </a:ext>
            </a:extLst>
          </p:cNvPr>
          <p:cNvSpPr>
            <a:spLocks noGrp="1"/>
          </p:cNvSpPr>
          <p:nvPr>
            <p:custDataLst>
              <p:tags r:id="rId34"/>
            </p:custDataLst>
          </p:nvPr>
        </p:nvSpPr>
        <p:spPr bwMode="gray">
          <a:xfrm>
            <a:off x="285750" y="2527300"/>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89EA8E-F6B4-4202-B4C5-347ECF4AAEF3}" type="datetime'''''''''''''0'''''''''''',''3''''''''''5'''''''''''">
              <a:rPr lang="en-US" altLang="en-US" sz="1200" smtClean="0">
                <a:sym typeface="+mn-lt"/>
              </a:rPr>
              <a:pPr marL="0" indent="0" algn="r">
                <a:spcBef>
                  <a:spcPct val="0"/>
                </a:spcBef>
                <a:spcAft>
                  <a:spcPct val="0"/>
                </a:spcAft>
                <a:buNone/>
              </a:pPr>
              <a:t>0,35</a:t>
            </a:fld>
            <a:endParaRPr lang="en-US" sz="1200" dirty="0">
              <a:sym typeface="+mn-lt"/>
            </a:endParaRPr>
          </a:p>
        </p:txBody>
      </p:sp>
      <p:sp>
        <p:nvSpPr>
          <p:cNvPr id="143" name="Text Placeholder 2">
            <a:extLst>
              <a:ext uri="{FF2B5EF4-FFF2-40B4-BE49-F238E27FC236}">
                <a16:creationId xmlns:a16="http://schemas.microsoft.com/office/drawing/2014/main" id="{49B7EF95-E72C-477A-8220-99831C5E3D71}"/>
              </a:ext>
            </a:extLst>
          </p:cNvPr>
          <p:cNvSpPr>
            <a:spLocks noGrp="1"/>
          </p:cNvSpPr>
          <p:nvPr>
            <p:custDataLst>
              <p:tags r:id="rId35"/>
            </p:custDataLst>
          </p:nvPr>
        </p:nvSpPr>
        <p:spPr bwMode="gray">
          <a:xfrm>
            <a:off x="285750" y="2298700"/>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7B33A38-7F07-4C16-846D-5F6381AFE1C7}" type="datetime'''''''''''''''''''''0'''''',4''0'''''''">
              <a:rPr lang="en-US" altLang="en-US" sz="1200" smtClean="0">
                <a:sym typeface="+mn-lt"/>
              </a:rPr>
              <a:pPr marL="0" indent="0" algn="r">
                <a:spcBef>
                  <a:spcPct val="0"/>
                </a:spcBef>
                <a:spcAft>
                  <a:spcPct val="0"/>
                </a:spcAft>
                <a:buNone/>
              </a:pPr>
              <a:t>0,40</a:t>
            </a:fld>
            <a:endParaRPr lang="en-US" sz="1200" dirty="0">
              <a:sym typeface="+mn-lt"/>
            </a:endParaRPr>
          </a:p>
        </p:txBody>
      </p:sp>
      <p:sp>
        <p:nvSpPr>
          <p:cNvPr id="144" name="Text Placeholder 2">
            <a:extLst>
              <a:ext uri="{FF2B5EF4-FFF2-40B4-BE49-F238E27FC236}">
                <a16:creationId xmlns:a16="http://schemas.microsoft.com/office/drawing/2014/main" id="{1DCFAA87-6DBB-4250-8326-EDA1F91327C6}"/>
              </a:ext>
            </a:extLst>
          </p:cNvPr>
          <p:cNvSpPr>
            <a:spLocks noGrp="1"/>
          </p:cNvSpPr>
          <p:nvPr>
            <p:custDataLst>
              <p:tags r:id="rId36"/>
            </p:custDataLst>
          </p:nvPr>
        </p:nvSpPr>
        <p:spPr bwMode="gray">
          <a:xfrm>
            <a:off x="285750" y="4130675"/>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FFB4D05-D81C-4DA9-B4AD-AD8870002546}" type="datetime'''''0'''''''''''''''''''',0''''''''''''''''0'''''''">
              <a:rPr lang="en-US" altLang="en-US" sz="1200" smtClean="0">
                <a:sym typeface="+mn-lt"/>
              </a:rPr>
              <a:pPr/>
              <a:t>0,00</a:t>
            </a:fld>
            <a:endParaRPr lang="en-US" sz="1200" dirty="0">
              <a:sym typeface="+mn-lt"/>
            </a:endParaRPr>
          </a:p>
        </p:txBody>
      </p:sp>
      <p:sp>
        <p:nvSpPr>
          <p:cNvPr id="145" name="Text Placeholder 2">
            <a:extLst>
              <a:ext uri="{FF2B5EF4-FFF2-40B4-BE49-F238E27FC236}">
                <a16:creationId xmlns:a16="http://schemas.microsoft.com/office/drawing/2014/main" id="{490CCA04-6479-43C5-9988-633BC2FBB953}"/>
              </a:ext>
            </a:extLst>
          </p:cNvPr>
          <p:cNvSpPr>
            <a:spLocks noGrp="1"/>
          </p:cNvSpPr>
          <p:nvPr>
            <p:custDataLst>
              <p:tags r:id="rId37"/>
            </p:custDataLst>
          </p:nvPr>
        </p:nvSpPr>
        <p:spPr bwMode="gray">
          <a:xfrm>
            <a:off x="285750" y="3902075"/>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1EC743-AE02-44FF-83BD-3004F88A04A3}" type="datetime'''''''0'''''''',''''''''0''''''''''5'''">
              <a:rPr lang="en-US" altLang="en-US" sz="1200" smtClean="0">
                <a:sym typeface="+mn-lt"/>
              </a:rPr>
              <a:pPr marL="0" indent="0" algn="r">
                <a:spcBef>
                  <a:spcPct val="0"/>
                </a:spcBef>
                <a:spcAft>
                  <a:spcPct val="0"/>
                </a:spcAft>
                <a:buNone/>
              </a:pPr>
              <a:t>0,05</a:t>
            </a:fld>
            <a:endParaRPr lang="en-US" sz="1200" dirty="0">
              <a:sym typeface="+mn-lt"/>
            </a:endParaRPr>
          </a:p>
        </p:txBody>
      </p:sp>
      <p:sp>
        <p:nvSpPr>
          <p:cNvPr id="146" name="Text Placeholder 2">
            <a:extLst>
              <a:ext uri="{FF2B5EF4-FFF2-40B4-BE49-F238E27FC236}">
                <a16:creationId xmlns:a16="http://schemas.microsoft.com/office/drawing/2014/main" id="{8687F1D2-C1B3-492E-87E6-D79DE9521871}"/>
              </a:ext>
            </a:extLst>
          </p:cNvPr>
          <p:cNvSpPr>
            <a:spLocks noGrp="1"/>
          </p:cNvSpPr>
          <p:nvPr>
            <p:custDataLst>
              <p:tags r:id="rId38"/>
            </p:custDataLst>
          </p:nvPr>
        </p:nvSpPr>
        <p:spPr bwMode="gray">
          <a:xfrm>
            <a:off x="285750" y="3214688"/>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A1F0363-0E3C-45AA-9BF3-0368728E6A40}" type="datetime'''''''''''''''0'''''''''''''',''''''''''''2''''''0'">
              <a:rPr lang="en-US" altLang="en-US" sz="1200" smtClean="0">
                <a:sym typeface="+mn-lt"/>
              </a:rPr>
              <a:pPr marL="0" indent="0" algn="r">
                <a:spcBef>
                  <a:spcPct val="0"/>
                </a:spcBef>
                <a:spcAft>
                  <a:spcPct val="0"/>
                </a:spcAft>
                <a:buNone/>
              </a:pPr>
              <a:t>0,20</a:t>
            </a:fld>
            <a:endParaRPr lang="en-US" sz="1200" dirty="0">
              <a:sym typeface="+mn-lt"/>
            </a:endParaRPr>
          </a:p>
        </p:txBody>
      </p:sp>
      <p:sp>
        <p:nvSpPr>
          <p:cNvPr id="147" name="Text Placeholder 2">
            <a:extLst>
              <a:ext uri="{FF2B5EF4-FFF2-40B4-BE49-F238E27FC236}">
                <a16:creationId xmlns:a16="http://schemas.microsoft.com/office/drawing/2014/main" id="{B9494BD5-3A0A-4ECB-A269-FDFF533296B9}"/>
              </a:ext>
            </a:extLst>
          </p:cNvPr>
          <p:cNvSpPr>
            <a:spLocks noGrp="1"/>
          </p:cNvSpPr>
          <p:nvPr>
            <p:custDataLst>
              <p:tags r:id="rId39"/>
            </p:custDataLst>
          </p:nvPr>
        </p:nvSpPr>
        <p:spPr bwMode="gray">
          <a:xfrm>
            <a:off x="285750" y="3671888"/>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426085-2F27-4B58-B75E-641A17CFF870}" type="datetime'''''''''''''''0,''1''''''''''0'''''''">
              <a:rPr lang="en-US" altLang="en-US" sz="1200" smtClean="0">
                <a:sym typeface="+mn-lt"/>
              </a:rPr>
              <a:pPr marL="0" indent="0" algn="r">
                <a:spcBef>
                  <a:spcPct val="0"/>
                </a:spcBef>
                <a:spcAft>
                  <a:spcPct val="0"/>
                </a:spcAft>
                <a:buNone/>
              </a:pPr>
              <a:t>0,10</a:t>
            </a:fld>
            <a:endParaRPr lang="en-US" sz="1200" dirty="0">
              <a:sym typeface="+mn-lt"/>
            </a:endParaRPr>
          </a:p>
        </p:txBody>
      </p:sp>
      <p:sp>
        <p:nvSpPr>
          <p:cNvPr id="148" name="Text Placeholder 2">
            <a:extLst>
              <a:ext uri="{FF2B5EF4-FFF2-40B4-BE49-F238E27FC236}">
                <a16:creationId xmlns:a16="http://schemas.microsoft.com/office/drawing/2014/main" id="{FD69A6A8-4D40-4D36-B205-716525F1B203}"/>
              </a:ext>
            </a:extLst>
          </p:cNvPr>
          <p:cNvSpPr>
            <a:spLocks noGrp="1"/>
          </p:cNvSpPr>
          <p:nvPr>
            <p:custDataLst>
              <p:tags r:id="rId40"/>
            </p:custDataLst>
          </p:nvPr>
        </p:nvSpPr>
        <p:spPr bwMode="gray">
          <a:xfrm>
            <a:off x="285750" y="3443288"/>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9D2A748-579E-4569-96FC-C35C3FFB6344}" type="datetime'''''0'''''''''''''''''''''''''''''''',''''''1''5'">
              <a:rPr lang="en-US" altLang="en-US" sz="1200" smtClean="0">
                <a:sym typeface="+mn-lt"/>
              </a:rPr>
              <a:pPr marL="0" indent="0" algn="r">
                <a:spcBef>
                  <a:spcPct val="0"/>
                </a:spcBef>
                <a:spcAft>
                  <a:spcPct val="0"/>
                </a:spcAft>
                <a:buNone/>
              </a:pPr>
              <a:t>0,15</a:t>
            </a:fld>
            <a:endParaRPr lang="en-US" sz="1200" dirty="0">
              <a:sym typeface="+mn-lt"/>
            </a:endParaRPr>
          </a:p>
        </p:txBody>
      </p:sp>
      <p:sp>
        <p:nvSpPr>
          <p:cNvPr id="149" name="Text Placeholder 2">
            <a:extLst>
              <a:ext uri="{FF2B5EF4-FFF2-40B4-BE49-F238E27FC236}">
                <a16:creationId xmlns:a16="http://schemas.microsoft.com/office/drawing/2014/main" id="{98D1E1F3-C75B-49B1-B23E-0062FDB1B572}"/>
              </a:ext>
            </a:extLst>
          </p:cNvPr>
          <p:cNvSpPr>
            <a:spLocks noGrp="1"/>
          </p:cNvSpPr>
          <p:nvPr>
            <p:custDataLst>
              <p:tags r:id="rId41"/>
            </p:custDataLst>
          </p:nvPr>
        </p:nvSpPr>
        <p:spPr bwMode="gray">
          <a:xfrm>
            <a:off x="285750" y="2755900"/>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79F27BB-9839-401A-BFEE-C54B8C827A4D}" type="datetime'''''''''''''0,''''''''30'''''''''''''''''''''''''''''''''''">
              <a:rPr lang="en-US" altLang="en-US" sz="1200" smtClean="0">
                <a:sym typeface="+mn-lt"/>
              </a:rPr>
              <a:pPr marL="0" indent="0" algn="r">
                <a:spcBef>
                  <a:spcPct val="0"/>
                </a:spcBef>
                <a:spcAft>
                  <a:spcPct val="0"/>
                </a:spcAft>
                <a:buNone/>
              </a:pPr>
              <a:t>0,30</a:t>
            </a:fld>
            <a:endParaRPr lang="en-US" sz="1200" dirty="0">
              <a:sym typeface="+mn-lt"/>
            </a:endParaRPr>
          </a:p>
        </p:txBody>
      </p:sp>
      <p:sp>
        <p:nvSpPr>
          <p:cNvPr id="150" name="Text Placeholder 2">
            <a:extLst>
              <a:ext uri="{FF2B5EF4-FFF2-40B4-BE49-F238E27FC236}">
                <a16:creationId xmlns:a16="http://schemas.microsoft.com/office/drawing/2014/main" id="{1A16D49F-9E92-461D-BFC8-A2758C349EE7}"/>
              </a:ext>
            </a:extLst>
          </p:cNvPr>
          <p:cNvSpPr>
            <a:spLocks noGrp="1"/>
          </p:cNvSpPr>
          <p:nvPr>
            <p:custDataLst>
              <p:tags r:id="rId42"/>
            </p:custDataLst>
          </p:nvPr>
        </p:nvSpPr>
        <p:spPr bwMode="gray">
          <a:xfrm>
            <a:off x="285750" y="2986088"/>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03953B9-B890-413A-A131-05F2D1860AB0}" type="datetime'''0'''''''''''',''''''2''''''''''''''''''5'''''''''">
              <a:rPr lang="en-US" altLang="en-US" sz="1200" smtClean="0">
                <a:sym typeface="+mn-lt"/>
              </a:rPr>
              <a:pPr marL="0" indent="0" algn="r">
                <a:spcBef>
                  <a:spcPct val="0"/>
                </a:spcBef>
                <a:spcAft>
                  <a:spcPct val="0"/>
                </a:spcAft>
                <a:buNone/>
              </a:pPr>
              <a:t>0,25</a:t>
            </a:fld>
            <a:endParaRPr lang="en-US" sz="1200" dirty="0">
              <a:sym typeface="+mn-lt"/>
            </a:endParaRPr>
          </a:p>
        </p:txBody>
      </p:sp>
      <p:sp>
        <p:nvSpPr>
          <p:cNvPr id="151" name="Text Placeholder 2">
            <a:extLst>
              <a:ext uri="{FF2B5EF4-FFF2-40B4-BE49-F238E27FC236}">
                <a16:creationId xmlns:a16="http://schemas.microsoft.com/office/drawing/2014/main" id="{F181C517-8C39-4171-AE68-3C8EB6296452}"/>
              </a:ext>
            </a:extLst>
          </p:cNvPr>
          <p:cNvSpPr>
            <a:spLocks noGrp="1"/>
          </p:cNvSpPr>
          <p:nvPr>
            <p:custDataLst>
              <p:tags r:id="rId43"/>
            </p:custDataLst>
          </p:nvPr>
        </p:nvSpPr>
        <p:spPr bwMode="gray">
          <a:xfrm>
            <a:off x="285750" y="1839913"/>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2957FFC-53C1-46CB-849F-D8CF3B9892C9}" type="datetime'''''0,''''''5''''''''0'''''''''''''''">
              <a:rPr lang="en-US" altLang="en-US" sz="1200" smtClean="0">
                <a:sym typeface="+mn-lt"/>
              </a:rPr>
              <a:pPr marL="0" indent="0" algn="r">
                <a:spcBef>
                  <a:spcPct val="0"/>
                </a:spcBef>
                <a:spcAft>
                  <a:spcPct val="0"/>
                </a:spcAft>
                <a:buNone/>
              </a:pPr>
              <a:t>0,50</a:t>
            </a:fld>
            <a:endParaRPr lang="en-US" sz="1200" dirty="0">
              <a:sym typeface="+mn-lt"/>
            </a:endParaRPr>
          </a:p>
        </p:txBody>
      </p:sp>
      <p:sp>
        <p:nvSpPr>
          <p:cNvPr id="152" name="Text Placeholder 2">
            <a:extLst>
              <a:ext uri="{FF2B5EF4-FFF2-40B4-BE49-F238E27FC236}">
                <a16:creationId xmlns:a16="http://schemas.microsoft.com/office/drawing/2014/main" id="{4ABBD5B3-8910-47BF-8396-C800EF4BEB9C}"/>
              </a:ext>
            </a:extLst>
          </p:cNvPr>
          <p:cNvSpPr>
            <a:spLocks noGrp="1"/>
          </p:cNvSpPr>
          <p:nvPr>
            <p:custDataLst>
              <p:tags r:id="rId44"/>
            </p:custDataLst>
          </p:nvPr>
        </p:nvSpPr>
        <p:spPr bwMode="gray">
          <a:xfrm>
            <a:off x="285750" y="2068513"/>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B8D31E3-7103-4802-8D81-1FE24DB5A6DD}" type="datetime'0'''',''''''''45'''''''''''''''''''''''">
              <a:rPr lang="en-US" altLang="en-US" sz="1200" smtClean="0">
                <a:sym typeface="+mn-lt"/>
              </a:rPr>
              <a:pPr marL="0" indent="0" algn="r">
                <a:spcBef>
                  <a:spcPct val="0"/>
                </a:spcBef>
                <a:spcAft>
                  <a:spcPct val="0"/>
                </a:spcAft>
                <a:buNone/>
              </a:pPr>
              <a:t>0,45</a:t>
            </a:fld>
            <a:endParaRPr lang="en-US" sz="1200" dirty="0">
              <a:sym typeface="+mn-lt"/>
            </a:endParaRPr>
          </a:p>
        </p:txBody>
      </p:sp>
      <p:sp>
        <p:nvSpPr>
          <p:cNvPr id="153" name="Text Placeholder 2">
            <a:extLst>
              <a:ext uri="{FF2B5EF4-FFF2-40B4-BE49-F238E27FC236}">
                <a16:creationId xmlns:a16="http://schemas.microsoft.com/office/drawing/2014/main" id="{FEEDE2DA-8B81-49A0-A7DA-FEAF075FCCDD}"/>
              </a:ext>
            </a:extLst>
          </p:cNvPr>
          <p:cNvSpPr>
            <a:spLocks noGrp="1"/>
          </p:cNvSpPr>
          <p:nvPr>
            <p:custDataLst>
              <p:tags r:id="rId45"/>
            </p:custDataLst>
          </p:nvPr>
        </p:nvSpPr>
        <p:spPr bwMode="auto">
          <a:xfrm>
            <a:off x="2851150"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F96549E-ED12-4821-B46A-AF8ED2E7474D}" type="datetime'''''''''''''''''''''''''''''2''''00''''''6'''''''''''''''''">
              <a:rPr lang="en-US" altLang="en-US" sz="1200" smtClean="0">
                <a:sym typeface="+mn-lt"/>
              </a:rPr>
              <a:pPr marL="0" indent="0" algn="r">
                <a:spcBef>
                  <a:spcPct val="0"/>
                </a:spcBef>
                <a:spcAft>
                  <a:spcPct val="0"/>
                </a:spcAft>
                <a:buNone/>
              </a:pPr>
              <a:t>2006</a:t>
            </a:fld>
            <a:endParaRPr lang="en-US" sz="1200" dirty="0">
              <a:sym typeface="+mn-lt"/>
            </a:endParaRPr>
          </a:p>
        </p:txBody>
      </p:sp>
      <p:sp>
        <p:nvSpPr>
          <p:cNvPr id="154" name="Text Placeholder 2">
            <a:extLst>
              <a:ext uri="{FF2B5EF4-FFF2-40B4-BE49-F238E27FC236}">
                <a16:creationId xmlns:a16="http://schemas.microsoft.com/office/drawing/2014/main" id="{A138BAC8-5F7A-41C5-9269-978EFF75D106}"/>
              </a:ext>
            </a:extLst>
          </p:cNvPr>
          <p:cNvSpPr>
            <a:spLocks noGrp="1"/>
          </p:cNvSpPr>
          <p:nvPr>
            <p:custDataLst>
              <p:tags r:id="rId46"/>
            </p:custDataLst>
          </p:nvPr>
        </p:nvSpPr>
        <p:spPr bwMode="auto">
          <a:xfrm>
            <a:off x="285750" y="1552575"/>
            <a:ext cx="2332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accent2"/>
                </a:solidFill>
                <a:sym typeface="+mn-lt"/>
              </a:rPr>
              <a:t>Fatalities rate every 1M worked hours</a:t>
            </a:r>
            <a:endParaRPr lang="en-US" sz="1200" b="1" dirty="0">
              <a:solidFill>
                <a:schemeClr val="accent2"/>
              </a:solidFill>
              <a:sym typeface="+mn-lt"/>
            </a:endParaRPr>
          </a:p>
        </p:txBody>
      </p:sp>
      <p:sp>
        <p:nvSpPr>
          <p:cNvPr id="155" name="Text Placeholder 2">
            <a:extLst>
              <a:ext uri="{FF2B5EF4-FFF2-40B4-BE49-F238E27FC236}">
                <a16:creationId xmlns:a16="http://schemas.microsoft.com/office/drawing/2014/main" id="{BA4A2844-85B0-470C-A359-EB7181924FFB}"/>
              </a:ext>
            </a:extLst>
          </p:cNvPr>
          <p:cNvSpPr>
            <a:spLocks noGrp="1"/>
          </p:cNvSpPr>
          <p:nvPr>
            <p:custDataLst>
              <p:tags r:id="rId47"/>
            </p:custDataLst>
          </p:nvPr>
        </p:nvSpPr>
        <p:spPr bwMode="auto">
          <a:xfrm>
            <a:off x="3221038"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F15049B-F348-4888-8DEB-0ABF2089256F}" type="datetime'''2''''0''''''''''''''''''''''''''''''0''8'''''''''''">
              <a:rPr lang="en-US" altLang="en-US" sz="1200" smtClean="0">
                <a:sym typeface="+mn-lt"/>
              </a:rPr>
              <a:pPr marL="0" indent="0" algn="r">
                <a:spcBef>
                  <a:spcPct val="0"/>
                </a:spcBef>
                <a:spcAft>
                  <a:spcPct val="0"/>
                </a:spcAft>
                <a:buNone/>
              </a:pPr>
              <a:t>2008</a:t>
            </a:fld>
            <a:endParaRPr lang="en-US" sz="1200" dirty="0">
              <a:sym typeface="+mn-lt"/>
            </a:endParaRPr>
          </a:p>
        </p:txBody>
      </p:sp>
      <p:sp>
        <p:nvSpPr>
          <p:cNvPr id="156" name="Text Placeholder 2">
            <a:extLst>
              <a:ext uri="{FF2B5EF4-FFF2-40B4-BE49-F238E27FC236}">
                <a16:creationId xmlns:a16="http://schemas.microsoft.com/office/drawing/2014/main" id="{9A79F9E3-E863-4AA0-A1D0-59F915F7EE47}"/>
              </a:ext>
            </a:extLst>
          </p:cNvPr>
          <p:cNvSpPr>
            <a:spLocks noGrp="1"/>
          </p:cNvSpPr>
          <p:nvPr>
            <p:custDataLst>
              <p:tags r:id="rId48"/>
            </p:custDataLst>
          </p:nvPr>
        </p:nvSpPr>
        <p:spPr bwMode="auto">
          <a:xfrm>
            <a:off x="1924050"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E90866-EB13-424C-9D54-610A3D89325E}" type="datetime'''2''''''''0''''''0''''''''''''''''''''''''''''''''1'''''">
              <a:rPr lang="en-US" altLang="en-US" sz="1200" smtClean="0">
                <a:sym typeface="+mn-lt"/>
              </a:rPr>
              <a:pPr marL="0" indent="0" algn="r">
                <a:spcBef>
                  <a:spcPct val="0"/>
                </a:spcBef>
                <a:spcAft>
                  <a:spcPct val="0"/>
                </a:spcAft>
                <a:buNone/>
              </a:pPr>
              <a:t>2001</a:t>
            </a:fld>
            <a:endParaRPr lang="en-US" sz="1200" dirty="0">
              <a:sym typeface="+mn-lt"/>
            </a:endParaRPr>
          </a:p>
        </p:txBody>
      </p:sp>
      <p:sp>
        <p:nvSpPr>
          <p:cNvPr id="157" name="Text Placeholder 2">
            <a:extLst>
              <a:ext uri="{FF2B5EF4-FFF2-40B4-BE49-F238E27FC236}">
                <a16:creationId xmlns:a16="http://schemas.microsoft.com/office/drawing/2014/main" id="{AF032D4E-EE1F-4CE2-BBA9-0C773BAE2D0E}"/>
              </a:ext>
            </a:extLst>
          </p:cNvPr>
          <p:cNvSpPr>
            <a:spLocks noGrp="1"/>
          </p:cNvSpPr>
          <p:nvPr>
            <p:custDataLst>
              <p:tags r:id="rId49"/>
            </p:custDataLst>
          </p:nvPr>
        </p:nvSpPr>
        <p:spPr bwMode="auto">
          <a:xfrm>
            <a:off x="4703763"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59B12C2-6B58-431F-A1A9-D5AA490479E2}" type="datetime'''''''''''''''2''''''''''0''''''1''''''''''''''6'''''''">
              <a:rPr lang="en-US" altLang="en-US" sz="1200" smtClean="0">
                <a:sym typeface="+mn-lt"/>
              </a:rPr>
              <a:pPr/>
              <a:t>2016</a:t>
            </a:fld>
            <a:endParaRPr lang="en-US" sz="1200" dirty="0">
              <a:sym typeface="+mn-lt"/>
            </a:endParaRPr>
          </a:p>
        </p:txBody>
      </p:sp>
      <p:sp>
        <p:nvSpPr>
          <p:cNvPr id="158" name="Text Placeholder 2">
            <a:extLst>
              <a:ext uri="{FF2B5EF4-FFF2-40B4-BE49-F238E27FC236}">
                <a16:creationId xmlns:a16="http://schemas.microsoft.com/office/drawing/2014/main" id="{61886537-87BA-4D43-A8B6-1FC76896F003}"/>
              </a:ext>
            </a:extLst>
          </p:cNvPr>
          <p:cNvSpPr>
            <a:spLocks noGrp="1"/>
          </p:cNvSpPr>
          <p:nvPr>
            <p:custDataLst>
              <p:tags r:id="rId50"/>
            </p:custDataLst>
          </p:nvPr>
        </p:nvSpPr>
        <p:spPr bwMode="auto">
          <a:xfrm>
            <a:off x="812800"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8AC3D8B-2746-4BCE-8326-F7E2E6255FE9}" type="datetime'''''''''''1''''''''''''''9''''''''9''''''''''5'''''''''''''''">
              <a:rPr lang="en-US" altLang="en-US" sz="1200" smtClean="0">
                <a:sym typeface="+mn-lt"/>
              </a:rPr>
              <a:pPr/>
              <a:t>1995</a:t>
            </a:fld>
            <a:endParaRPr lang="en-US" sz="1200" dirty="0">
              <a:sym typeface="+mn-lt"/>
            </a:endParaRPr>
          </a:p>
        </p:txBody>
      </p:sp>
      <p:sp>
        <p:nvSpPr>
          <p:cNvPr id="159" name="Text Placeholder 2">
            <a:extLst>
              <a:ext uri="{FF2B5EF4-FFF2-40B4-BE49-F238E27FC236}">
                <a16:creationId xmlns:a16="http://schemas.microsoft.com/office/drawing/2014/main" id="{C984BF22-3945-4EEE-B83B-3B8B04D1C9F4}"/>
              </a:ext>
            </a:extLst>
          </p:cNvPr>
          <p:cNvSpPr>
            <a:spLocks noGrp="1"/>
          </p:cNvSpPr>
          <p:nvPr>
            <p:custDataLst>
              <p:tags r:id="rId51"/>
            </p:custDataLst>
          </p:nvPr>
        </p:nvSpPr>
        <p:spPr bwMode="auto">
          <a:xfrm>
            <a:off x="4332288"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8DEB761-A6FD-440F-976A-41AE25D340E2}" type="datetime'''''''''''''201''''''''''''''''''''''''4'''''''''''">
              <a:rPr lang="en-US" altLang="en-US" sz="1200" smtClean="0">
                <a:sym typeface="+mn-lt"/>
              </a:rPr>
              <a:pPr marL="0" indent="0" algn="r">
                <a:spcBef>
                  <a:spcPct val="0"/>
                </a:spcBef>
                <a:spcAft>
                  <a:spcPct val="0"/>
                </a:spcAft>
                <a:buNone/>
              </a:pPr>
              <a:t>2014</a:t>
            </a:fld>
            <a:endParaRPr lang="en-US" sz="1200" dirty="0">
              <a:sym typeface="+mn-lt"/>
            </a:endParaRPr>
          </a:p>
        </p:txBody>
      </p:sp>
      <p:sp>
        <p:nvSpPr>
          <p:cNvPr id="160" name="Text Placeholder 2">
            <a:extLst>
              <a:ext uri="{FF2B5EF4-FFF2-40B4-BE49-F238E27FC236}">
                <a16:creationId xmlns:a16="http://schemas.microsoft.com/office/drawing/2014/main" id="{6F248250-C9C7-4879-94F9-D2488EB9758E}"/>
              </a:ext>
            </a:extLst>
          </p:cNvPr>
          <p:cNvSpPr>
            <a:spLocks noGrp="1"/>
          </p:cNvSpPr>
          <p:nvPr>
            <p:custDataLst>
              <p:tags r:id="rId52"/>
            </p:custDataLst>
          </p:nvPr>
        </p:nvSpPr>
        <p:spPr bwMode="auto">
          <a:xfrm>
            <a:off x="627063"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B65AC7-F3EC-4B3F-9E12-FA6D3BF11430}" type="datetime'''''''''''''''''''''''''''1''''''9''''''''''''''9''''''4'''''">
              <a:rPr lang="en-US" altLang="en-US" sz="1200" smtClean="0">
                <a:sym typeface="+mn-lt"/>
              </a:rPr>
              <a:pPr/>
              <a:t>1994</a:t>
            </a:fld>
            <a:endParaRPr lang="en-US" sz="1200" dirty="0">
              <a:sym typeface="+mn-lt"/>
            </a:endParaRPr>
          </a:p>
        </p:txBody>
      </p:sp>
      <p:sp>
        <p:nvSpPr>
          <p:cNvPr id="161" name="Text Placeholder 2">
            <a:extLst>
              <a:ext uri="{FF2B5EF4-FFF2-40B4-BE49-F238E27FC236}">
                <a16:creationId xmlns:a16="http://schemas.microsoft.com/office/drawing/2014/main" id="{CBF82465-9463-4DE4-97E6-D91B14B68368}"/>
              </a:ext>
            </a:extLst>
          </p:cNvPr>
          <p:cNvSpPr>
            <a:spLocks noGrp="1"/>
          </p:cNvSpPr>
          <p:nvPr>
            <p:custDataLst>
              <p:tags r:id="rId53"/>
            </p:custDataLst>
          </p:nvPr>
        </p:nvSpPr>
        <p:spPr bwMode="auto">
          <a:xfrm>
            <a:off x="996950"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98D5229-E345-4BC4-BD67-B26DF1C1F1DC}" type="datetime'''''''''''''''1''''9''''''''''''''''''''9''''''''''6'''''">
              <a:rPr lang="en-US" altLang="en-US" sz="1200" smtClean="0">
                <a:sym typeface="+mn-lt"/>
              </a:rPr>
              <a:pPr/>
              <a:t>1996</a:t>
            </a:fld>
            <a:endParaRPr lang="en-US" sz="1200" dirty="0">
              <a:sym typeface="+mn-lt"/>
            </a:endParaRPr>
          </a:p>
        </p:txBody>
      </p:sp>
      <p:sp>
        <p:nvSpPr>
          <p:cNvPr id="162" name="Text Placeholder 2">
            <a:extLst>
              <a:ext uri="{FF2B5EF4-FFF2-40B4-BE49-F238E27FC236}">
                <a16:creationId xmlns:a16="http://schemas.microsoft.com/office/drawing/2014/main" id="{193576B1-0DDD-498B-B6FD-C30E2D3C76FD}"/>
              </a:ext>
            </a:extLst>
          </p:cNvPr>
          <p:cNvSpPr>
            <a:spLocks noGrp="1"/>
          </p:cNvSpPr>
          <p:nvPr>
            <p:custDataLst>
              <p:tags r:id="rId54"/>
            </p:custDataLst>
          </p:nvPr>
        </p:nvSpPr>
        <p:spPr bwMode="auto">
          <a:xfrm>
            <a:off x="3962400"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D321476-8B68-440A-90A4-0B5480AFA80F}" type="datetime'''''''''''''''''''''2''''''''''0''''''''''''1''''2'''''''">
              <a:rPr lang="en-US" altLang="en-US" sz="1200" smtClean="0">
                <a:sym typeface="+mn-lt"/>
              </a:rPr>
              <a:pPr marL="0" indent="0" algn="r">
                <a:spcBef>
                  <a:spcPct val="0"/>
                </a:spcBef>
                <a:spcAft>
                  <a:spcPct val="0"/>
                </a:spcAft>
                <a:buNone/>
              </a:pPr>
              <a:t>2012</a:t>
            </a:fld>
            <a:endParaRPr lang="en-US" sz="1200" dirty="0">
              <a:sym typeface="+mn-lt"/>
            </a:endParaRPr>
          </a:p>
        </p:txBody>
      </p:sp>
      <p:sp>
        <p:nvSpPr>
          <p:cNvPr id="163" name="Text Placeholder 2">
            <a:extLst>
              <a:ext uri="{FF2B5EF4-FFF2-40B4-BE49-F238E27FC236}">
                <a16:creationId xmlns:a16="http://schemas.microsoft.com/office/drawing/2014/main" id="{8F9C0035-46A5-4999-8C20-01BF0317C1D7}"/>
              </a:ext>
            </a:extLst>
          </p:cNvPr>
          <p:cNvSpPr>
            <a:spLocks noGrp="1"/>
          </p:cNvSpPr>
          <p:nvPr>
            <p:custDataLst>
              <p:tags r:id="rId55"/>
            </p:custDataLst>
          </p:nvPr>
        </p:nvSpPr>
        <p:spPr bwMode="auto">
          <a:xfrm>
            <a:off x="1182688"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1B26B0F-95AE-4582-A61E-E6250192C7E5}" type="datetime'1''''9''''''''''''''''''''''''''''''''''''9''''''''''''7'''''">
              <a:rPr lang="en-US" altLang="en-US" sz="1200" smtClean="0">
                <a:sym typeface="+mn-lt"/>
              </a:rPr>
              <a:pPr/>
              <a:t>1997</a:t>
            </a:fld>
            <a:endParaRPr lang="en-US" sz="1200" dirty="0">
              <a:sym typeface="+mn-lt"/>
            </a:endParaRPr>
          </a:p>
        </p:txBody>
      </p:sp>
      <p:sp>
        <p:nvSpPr>
          <p:cNvPr id="164" name="Text Placeholder 2">
            <a:extLst>
              <a:ext uri="{FF2B5EF4-FFF2-40B4-BE49-F238E27FC236}">
                <a16:creationId xmlns:a16="http://schemas.microsoft.com/office/drawing/2014/main" id="{9C801A89-474D-4F1C-B36F-D7D6FC0693AF}"/>
              </a:ext>
            </a:extLst>
          </p:cNvPr>
          <p:cNvSpPr>
            <a:spLocks noGrp="1"/>
          </p:cNvSpPr>
          <p:nvPr>
            <p:custDataLst>
              <p:tags r:id="rId56"/>
            </p:custDataLst>
          </p:nvPr>
        </p:nvSpPr>
        <p:spPr bwMode="auto">
          <a:xfrm>
            <a:off x="1368425"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E801CB-3F8A-4769-ABEF-5D8040FF89C4}" type="datetime'''''''''''''''''''1''9''''''''9''8'''''''''''''''''''">
              <a:rPr lang="en-US" altLang="en-US" sz="1200" smtClean="0">
                <a:sym typeface="+mn-lt"/>
              </a:rPr>
              <a:pPr/>
              <a:t>1998</a:t>
            </a:fld>
            <a:endParaRPr lang="en-US" sz="1200" dirty="0">
              <a:sym typeface="+mn-lt"/>
            </a:endParaRPr>
          </a:p>
        </p:txBody>
      </p:sp>
      <p:sp>
        <p:nvSpPr>
          <p:cNvPr id="165" name="Text Placeholder 2">
            <a:extLst>
              <a:ext uri="{FF2B5EF4-FFF2-40B4-BE49-F238E27FC236}">
                <a16:creationId xmlns:a16="http://schemas.microsoft.com/office/drawing/2014/main" id="{C393F63A-A15F-4E4F-9CB7-FD59337883F7}"/>
              </a:ext>
            </a:extLst>
          </p:cNvPr>
          <p:cNvSpPr>
            <a:spLocks noGrp="1"/>
          </p:cNvSpPr>
          <p:nvPr>
            <p:custDataLst>
              <p:tags r:id="rId57"/>
            </p:custDataLst>
          </p:nvPr>
        </p:nvSpPr>
        <p:spPr bwMode="auto">
          <a:xfrm>
            <a:off x="1554163"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3B97BC6-35AA-462B-B547-FDE927484FEF}" type="datetime'''''''''''''''''1''''''''''''''''99''''''9'''">
              <a:rPr lang="en-US" altLang="en-US" sz="1200" smtClean="0">
                <a:sym typeface="+mn-lt"/>
              </a:rPr>
              <a:pPr/>
              <a:t>1999</a:t>
            </a:fld>
            <a:endParaRPr lang="en-US" sz="1200" dirty="0">
              <a:sym typeface="+mn-lt"/>
            </a:endParaRPr>
          </a:p>
        </p:txBody>
      </p:sp>
      <p:sp>
        <p:nvSpPr>
          <p:cNvPr id="166" name="Text Placeholder 2">
            <a:extLst>
              <a:ext uri="{FF2B5EF4-FFF2-40B4-BE49-F238E27FC236}">
                <a16:creationId xmlns:a16="http://schemas.microsoft.com/office/drawing/2014/main" id="{7E0422C3-7756-4BA9-ABC2-92390D5F2C64}"/>
              </a:ext>
            </a:extLst>
          </p:cNvPr>
          <p:cNvSpPr>
            <a:spLocks noGrp="1"/>
          </p:cNvSpPr>
          <p:nvPr>
            <p:custDataLst>
              <p:tags r:id="rId58"/>
            </p:custDataLst>
          </p:nvPr>
        </p:nvSpPr>
        <p:spPr bwMode="auto">
          <a:xfrm>
            <a:off x="4146550"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C2B4908-A304-43AB-89B0-C5ECB18077A3}" type="datetime'''''''''''2''''''''''''''''''''''''0''''''''1''''3'''''''">
              <a:rPr lang="en-US" altLang="en-US" sz="1200" smtClean="0">
                <a:sym typeface="+mn-lt"/>
              </a:rPr>
              <a:pPr marL="0" indent="0" algn="r">
                <a:spcBef>
                  <a:spcPct val="0"/>
                </a:spcBef>
                <a:spcAft>
                  <a:spcPct val="0"/>
                </a:spcAft>
                <a:buNone/>
              </a:pPr>
              <a:t>2013</a:t>
            </a:fld>
            <a:endParaRPr lang="en-US" sz="1200" dirty="0">
              <a:sym typeface="+mn-lt"/>
            </a:endParaRPr>
          </a:p>
        </p:txBody>
      </p:sp>
      <p:sp>
        <p:nvSpPr>
          <p:cNvPr id="167" name="Text Placeholder 2">
            <a:extLst>
              <a:ext uri="{FF2B5EF4-FFF2-40B4-BE49-F238E27FC236}">
                <a16:creationId xmlns:a16="http://schemas.microsoft.com/office/drawing/2014/main" id="{3D9F7ED1-F15A-432F-816C-0C0FF016550B}"/>
              </a:ext>
            </a:extLst>
          </p:cNvPr>
          <p:cNvSpPr>
            <a:spLocks noGrp="1"/>
          </p:cNvSpPr>
          <p:nvPr>
            <p:custDataLst>
              <p:tags r:id="rId59"/>
            </p:custDataLst>
          </p:nvPr>
        </p:nvSpPr>
        <p:spPr bwMode="auto">
          <a:xfrm>
            <a:off x="3776663"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9FA2AF-9376-411E-BA90-93AC077AB3F9}" type="datetime'''''''''2''01''''''''''''''''1'''''''''">
              <a:rPr lang="en-US" altLang="en-US" sz="1200" smtClean="0">
                <a:sym typeface="+mn-lt"/>
              </a:rPr>
              <a:pPr marL="0" indent="0" algn="r">
                <a:spcBef>
                  <a:spcPct val="0"/>
                </a:spcBef>
                <a:spcAft>
                  <a:spcPct val="0"/>
                </a:spcAft>
                <a:buNone/>
              </a:pPr>
              <a:t>2011</a:t>
            </a:fld>
            <a:endParaRPr lang="en-US" sz="1200" dirty="0">
              <a:sym typeface="+mn-lt"/>
            </a:endParaRPr>
          </a:p>
        </p:txBody>
      </p:sp>
      <p:sp>
        <p:nvSpPr>
          <p:cNvPr id="168" name="Text Placeholder 2">
            <a:extLst>
              <a:ext uri="{FF2B5EF4-FFF2-40B4-BE49-F238E27FC236}">
                <a16:creationId xmlns:a16="http://schemas.microsoft.com/office/drawing/2014/main" id="{BD92118A-17CD-40BD-A054-C7CF11185FC1}"/>
              </a:ext>
            </a:extLst>
          </p:cNvPr>
          <p:cNvSpPr>
            <a:spLocks noGrp="1"/>
          </p:cNvSpPr>
          <p:nvPr>
            <p:custDataLst>
              <p:tags r:id="rId60"/>
            </p:custDataLst>
          </p:nvPr>
        </p:nvSpPr>
        <p:spPr bwMode="auto">
          <a:xfrm>
            <a:off x="1738313"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535BA51-CFC1-451A-908F-5FAA69AA9F3F}" type="datetime'''20''''''''''''''''''''''''''''''''''''''''''''''''0''''0'">
              <a:rPr lang="en-US" altLang="en-US" sz="1200" smtClean="0">
                <a:sym typeface="+mn-lt"/>
              </a:rPr>
              <a:pPr marL="0" indent="0" algn="r">
                <a:spcBef>
                  <a:spcPct val="0"/>
                </a:spcBef>
                <a:spcAft>
                  <a:spcPct val="0"/>
                </a:spcAft>
                <a:buNone/>
              </a:pPr>
              <a:t>2000</a:t>
            </a:fld>
            <a:endParaRPr lang="en-US" sz="1200" dirty="0">
              <a:sym typeface="+mn-lt"/>
            </a:endParaRPr>
          </a:p>
        </p:txBody>
      </p:sp>
      <p:sp>
        <p:nvSpPr>
          <p:cNvPr id="169" name="Text Placeholder 2">
            <a:extLst>
              <a:ext uri="{FF2B5EF4-FFF2-40B4-BE49-F238E27FC236}">
                <a16:creationId xmlns:a16="http://schemas.microsoft.com/office/drawing/2014/main" id="{E55D70A0-7E23-4047-AC89-0E722F26DB20}"/>
              </a:ext>
            </a:extLst>
          </p:cNvPr>
          <p:cNvSpPr>
            <a:spLocks noGrp="1"/>
          </p:cNvSpPr>
          <p:nvPr>
            <p:custDataLst>
              <p:tags r:id="rId61"/>
            </p:custDataLst>
          </p:nvPr>
        </p:nvSpPr>
        <p:spPr bwMode="auto">
          <a:xfrm>
            <a:off x="2109788"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1AAF824-D6FD-4034-9B0A-39AC3499CFA0}" type="datetime'''''2''''''''''''00''''2'''''''''''''">
              <a:rPr lang="en-US" altLang="en-US" sz="1200" smtClean="0">
                <a:sym typeface="+mn-lt"/>
              </a:rPr>
              <a:pPr marL="0" indent="0" algn="r">
                <a:spcBef>
                  <a:spcPct val="0"/>
                </a:spcBef>
                <a:spcAft>
                  <a:spcPct val="0"/>
                </a:spcAft>
                <a:buNone/>
              </a:pPr>
              <a:t>2002</a:t>
            </a:fld>
            <a:endParaRPr lang="en-US" sz="1200" dirty="0">
              <a:sym typeface="+mn-lt"/>
            </a:endParaRPr>
          </a:p>
        </p:txBody>
      </p:sp>
      <p:sp>
        <p:nvSpPr>
          <p:cNvPr id="170" name="Text Placeholder 2">
            <a:extLst>
              <a:ext uri="{FF2B5EF4-FFF2-40B4-BE49-F238E27FC236}">
                <a16:creationId xmlns:a16="http://schemas.microsoft.com/office/drawing/2014/main" id="{E0B671A0-7CA2-4965-9B29-622E1F0A09B0}"/>
              </a:ext>
            </a:extLst>
          </p:cNvPr>
          <p:cNvSpPr>
            <a:spLocks noGrp="1"/>
          </p:cNvSpPr>
          <p:nvPr>
            <p:custDataLst>
              <p:tags r:id="rId62"/>
            </p:custDataLst>
          </p:nvPr>
        </p:nvSpPr>
        <p:spPr bwMode="auto">
          <a:xfrm>
            <a:off x="2293938"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2E1C71-A745-4529-BE0D-54C27E477785}" type="datetime'''''''''''''''''''''''''''''''2''''''''''''''''0''''''''03'''">
              <a:rPr lang="en-US" altLang="en-US" sz="1200" smtClean="0">
                <a:sym typeface="+mn-lt"/>
              </a:rPr>
              <a:pPr marL="0" indent="0" algn="r">
                <a:spcBef>
                  <a:spcPct val="0"/>
                </a:spcBef>
                <a:spcAft>
                  <a:spcPct val="0"/>
                </a:spcAft>
                <a:buNone/>
              </a:pPr>
              <a:t>2003</a:t>
            </a:fld>
            <a:endParaRPr lang="en-US" sz="1200" dirty="0">
              <a:sym typeface="+mn-lt"/>
            </a:endParaRPr>
          </a:p>
        </p:txBody>
      </p:sp>
      <p:sp>
        <p:nvSpPr>
          <p:cNvPr id="171" name="Text Placeholder 2">
            <a:extLst>
              <a:ext uri="{FF2B5EF4-FFF2-40B4-BE49-F238E27FC236}">
                <a16:creationId xmlns:a16="http://schemas.microsoft.com/office/drawing/2014/main" id="{95529CD0-439C-4416-B2E7-951178AB704E}"/>
              </a:ext>
            </a:extLst>
          </p:cNvPr>
          <p:cNvSpPr>
            <a:spLocks noGrp="1"/>
          </p:cNvSpPr>
          <p:nvPr>
            <p:custDataLst>
              <p:tags r:id="rId63"/>
            </p:custDataLst>
          </p:nvPr>
        </p:nvSpPr>
        <p:spPr bwMode="auto">
          <a:xfrm>
            <a:off x="4518025"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05F692-4682-4157-92F3-7C9644EA46D5}" type="datetime'20''''''''1''''''''''''''''''''''''5'''''''''''''''''''''">
              <a:rPr lang="en-US" altLang="en-US" sz="1200" smtClean="0">
                <a:sym typeface="+mn-lt"/>
              </a:rPr>
              <a:pPr/>
              <a:t>2015</a:t>
            </a:fld>
            <a:endParaRPr lang="en-US" sz="1200" dirty="0">
              <a:sym typeface="+mn-lt"/>
            </a:endParaRPr>
          </a:p>
        </p:txBody>
      </p:sp>
      <p:sp>
        <p:nvSpPr>
          <p:cNvPr id="172" name="Text Placeholder 2">
            <a:extLst>
              <a:ext uri="{FF2B5EF4-FFF2-40B4-BE49-F238E27FC236}">
                <a16:creationId xmlns:a16="http://schemas.microsoft.com/office/drawing/2014/main" id="{A05A748D-DA5E-4FA4-A730-82E7D279986D}"/>
              </a:ext>
            </a:extLst>
          </p:cNvPr>
          <p:cNvSpPr>
            <a:spLocks noGrp="1"/>
          </p:cNvSpPr>
          <p:nvPr>
            <p:custDataLst>
              <p:tags r:id="rId64"/>
            </p:custDataLst>
          </p:nvPr>
        </p:nvSpPr>
        <p:spPr bwMode="auto">
          <a:xfrm>
            <a:off x="2479675"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69AEEF6-A9F2-44AA-8838-ADF49E0476EE}" type="datetime'''''''''''''''''''''''''''''''''''''''''2''''004'''''''''''''">
              <a:rPr lang="en-US" altLang="en-US" sz="1200" smtClean="0">
                <a:sym typeface="+mn-lt"/>
              </a:rPr>
              <a:pPr marL="0" indent="0" algn="r">
                <a:spcBef>
                  <a:spcPct val="0"/>
                </a:spcBef>
                <a:spcAft>
                  <a:spcPct val="0"/>
                </a:spcAft>
                <a:buNone/>
              </a:pPr>
              <a:t>2004</a:t>
            </a:fld>
            <a:endParaRPr lang="en-US" sz="1200" dirty="0">
              <a:sym typeface="+mn-lt"/>
            </a:endParaRPr>
          </a:p>
        </p:txBody>
      </p:sp>
      <p:sp>
        <p:nvSpPr>
          <p:cNvPr id="173" name="Text Placeholder 2">
            <a:extLst>
              <a:ext uri="{FF2B5EF4-FFF2-40B4-BE49-F238E27FC236}">
                <a16:creationId xmlns:a16="http://schemas.microsoft.com/office/drawing/2014/main" id="{225222F5-F467-40A1-B8E3-218BF404D249}"/>
              </a:ext>
            </a:extLst>
          </p:cNvPr>
          <p:cNvSpPr>
            <a:spLocks noGrp="1"/>
          </p:cNvSpPr>
          <p:nvPr>
            <p:custDataLst>
              <p:tags r:id="rId65"/>
            </p:custDataLst>
          </p:nvPr>
        </p:nvSpPr>
        <p:spPr bwMode="auto">
          <a:xfrm>
            <a:off x="2665413"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D14BD9-F7EA-45B5-8AFE-AC0D0463E9F7}" type="datetime'''''''2''''''''''''''''''''''0''''''''''''''''0''''''''5'''">
              <a:rPr lang="en-US" altLang="en-US" sz="1200" smtClean="0">
                <a:sym typeface="+mn-lt"/>
              </a:rPr>
              <a:pPr marL="0" indent="0" algn="r">
                <a:spcBef>
                  <a:spcPct val="0"/>
                </a:spcBef>
                <a:spcAft>
                  <a:spcPct val="0"/>
                </a:spcAft>
                <a:buNone/>
              </a:pPr>
              <a:t>2005</a:t>
            </a:fld>
            <a:endParaRPr lang="en-US" sz="1200" dirty="0">
              <a:sym typeface="+mn-lt"/>
            </a:endParaRPr>
          </a:p>
        </p:txBody>
      </p:sp>
      <p:sp>
        <p:nvSpPr>
          <p:cNvPr id="174" name="Text Placeholder 2">
            <a:extLst>
              <a:ext uri="{FF2B5EF4-FFF2-40B4-BE49-F238E27FC236}">
                <a16:creationId xmlns:a16="http://schemas.microsoft.com/office/drawing/2014/main" id="{2B538BC8-5653-4139-B0CB-C6B3146655F7}"/>
              </a:ext>
            </a:extLst>
          </p:cNvPr>
          <p:cNvSpPr>
            <a:spLocks noGrp="1"/>
          </p:cNvSpPr>
          <p:nvPr>
            <p:custDataLst>
              <p:tags r:id="rId66"/>
            </p:custDataLst>
          </p:nvPr>
        </p:nvSpPr>
        <p:spPr bwMode="auto">
          <a:xfrm>
            <a:off x="3590925"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EF8B78-7E35-45D0-8362-2F5023B4013C}" type="datetime'2''''''''''''''''''''''''''''''''''''''010'''''''''''">
              <a:rPr lang="en-US" altLang="en-US" sz="1200" smtClean="0">
                <a:sym typeface="+mn-lt"/>
              </a:rPr>
              <a:pPr marL="0" indent="0" algn="r">
                <a:spcBef>
                  <a:spcPct val="0"/>
                </a:spcBef>
                <a:spcAft>
                  <a:spcPct val="0"/>
                </a:spcAft>
                <a:buNone/>
              </a:pPr>
              <a:t>2010</a:t>
            </a:fld>
            <a:endParaRPr lang="en-US" sz="1200" dirty="0">
              <a:sym typeface="+mn-lt"/>
            </a:endParaRPr>
          </a:p>
        </p:txBody>
      </p:sp>
      <p:sp>
        <p:nvSpPr>
          <p:cNvPr id="175" name="Text Placeholder 2">
            <a:extLst>
              <a:ext uri="{FF2B5EF4-FFF2-40B4-BE49-F238E27FC236}">
                <a16:creationId xmlns:a16="http://schemas.microsoft.com/office/drawing/2014/main" id="{3AB81696-1B3E-4959-8988-E91DF23FE1C3}"/>
              </a:ext>
            </a:extLst>
          </p:cNvPr>
          <p:cNvSpPr>
            <a:spLocks noGrp="1"/>
          </p:cNvSpPr>
          <p:nvPr>
            <p:custDataLst>
              <p:tags r:id="rId67"/>
            </p:custDataLst>
          </p:nvPr>
        </p:nvSpPr>
        <p:spPr bwMode="auto">
          <a:xfrm>
            <a:off x="3035300"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1718DE0-C7F5-4E77-A7EC-371B1AA37321}" type="datetime'''2''''''''0''''''''''''07'''''''''''''''''''">
              <a:rPr lang="en-US" altLang="en-US" sz="1200" smtClean="0">
                <a:sym typeface="+mn-lt"/>
              </a:rPr>
              <a:pPr marL="0" indent="0" algn="r">
                <a:spcBef>
                  <a:spcPct val="0"/>
                </a:spcBef>
                <a:spcAft>
                  <a:spcPct val="0"/>
                </a:spcAft>
                <a:buNone/>
              </a:pPr>
              <a:t>2007</a:t>
            </a:fld>
            <a:endParaRPr lang="en-US" sz="1200" dirty="0">
              <a:sym typeface="+mn-lt"/>
            </a:endParaRPr>
          </a:p>
        </p:txBody>
      </p:sp>
      <p:sp>
        <p:nvSpPr>
          <p:cNvPr id="176" name="Text Placeholder 2">
            <a:extLst>
              <a:ext uri="{FF2B5EF4-FFF2-40B4-BE49-F238E27FC236}">
                <a16:creationId xmlns:a16="http://schemas.microsoft.com/office/drawing/2014/main" id="{A7E6C580-1328-4160-8B85-ED6E5CC535AD}"/>
              </a:ext>
            </a:extLst>
          </p:cNvPr>
          <p:cNvSpPr>
            <a:spLocks noGrp="1"/>
          </p:cNvSpPr>
          <p:nvPr>
            <p:custDataLst>
              <p:tags r:id="rId68"/>
            </p:custDataLst>
          </p:nvPr>
        </p:nvSpPr>
        <p:spPr bwMode="auto">
          <a:xfrm>
            <a:off x="3406775"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E645264-72AE-4D8B-A751-C8C6AFC8ED32}" type="datetime'''''''2''''''''''0''''''''''0''''''''''''''''9'''''''">
              <a:rPr lang="en-US" altLang="en-US" sz="1200" smtClean="0">
                <a:sym typeface="+mn-lt"/>
              </a:rPr>
              <a:pPr marL="0" indent="0" algn="r">
                <a:spcBef>
                  <a:spcPct val="0"/>
                </a:spcBef>
                <a:spcAft>
                  <a:spcPct val="0"/>
                </a:spcAft>
                <a:buNone/>
              </a:pPr>
              <a:t>2009</a:t>
            </a:fld>
            <a:endParaRPr lang="en-US" sz="1200" dirty="0">
              <a:sym typeface="+mn-lt"/>
            </a:endParaRPr>
          </a:p>
        </p:txBody>
      </p:sp>
      <p:sp>
        <p:nvSpPr>
          <p:cNvPr id="177" name="Text Placeholder 2">
            <a:extLst>
              <a:ext uri="{FF2B5EF4-FFF2-40B4-BE49-F238E27FC236}">
                <a16:creationId xmlns:a16="http://schemas.microsoft.com/office/drawing/2014/main" id="{94F627E1-B600-4315-829C-A2366A51DFF2}"/>
              </a:ext>
            </a:extLst>
          </p:cNvPr>
          <p:cNvSpPr>
            <a:spLocks noGrp="1"/>
          </p:cNvSpPr>
          <p:nvPr>
            <p:custDataLst>
              <p:tags r:id="rId69"/>
            </p:custDataLst>
          </p:nvPr>
        </p:nvSpPr>
        <p:spPr bwMode="auto">
          <a:xfrm>
            <a:off x="4887913"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FF7A7BD-7384-41F9-8D3A-8651ADD617F6}" type="datetime'''''''''''''''''''2''''''''''''''''''''''''''''''0''17'''">
              <a:rPr lang="en-US" altLang="en-US" sz="1200" smtClean="0">
                <a:sym typeface="+mn-lt"/>
              </a:rPr>
              <a:pPr/>
              <a:t>2017</a:t>
            </a:fld>
            <a:endParaRPr lang="en-US" sz="1200" dirty="0">
              <a:sym typeface="+mn-lt"/>
            </a:endParaRPr>
          </a:p>
        </p:txBody>
      </p:sp>
      <p:sp>
        <p:nvSpPr>
          <p:cNvPr id="178" name="Text Placeholder 2">
            <a:extLst>
              <a:ext uri="{FF2B5EF4-FFF2-40B4-BE49-F238E27FC236}">
                <a16:creationId xmlns:a16="http://schemas.microsoft.com/office/drawing/2014/main" id="{CE9E02D7-4B7D-49DA-8643-7B69CA747574}"/>
              </a:ext>
            </a:extLst>
          </p:cNvPr>
          <p:cNvSpPr>
            <a:spLocks noGrp="1"/>
          </p:cNvSpPr>
          <p:nvPr>
            <p:custDataLst>
              <p:tags r:id="rId70"/>
            </p:custDataLst>
          </p:nvPr>
        </p:nvSpPr>
        <p:spPr bwMode="auto">
          <a:xfrm>
            <a:off x="5073650" y="4259263"/>
            <a:ext cx="165100" cy="311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4FF07D4-9289-41AB-B8CC-5A2EB984653F}" type="datetime'2''0''''''''''''''''''''''''''''1''''''''''''''''''8'''''''">
              <a:rPr lang="en-US" altLang="en-US" sz="1200" smtClean="0">
                <a:sym typeface="+mn-lt"/>
              </a:rPr>
              <a:pPr/>
              <a:t>2018</a:t>
            </a:fld>
            <a:endParaRPr lang="en-US" sz="1200" dirty="0">
              <a:sym typeface="+mn-lt"/>
            </a:endParaRPr>
          </a:p>
        </p:txBody>
      </p:sp>
      <p:cxnSp>
        <p:nvCxnSpPr>
          <p:cNvPr id="179" name="Straight Arrow Connector 178">
            <a:extLst>
              <a:ext uri="{FF2B5EF4-FFF2-40B4-BE49-F238E27FC236}">
                <a16:creationId xmlns:a16="http://schemas.microsoft.com/office/drawing/2014/main" id="{59844477-DDCA-46CC-889E-1707BAD49B3F}"/>
              </a:ext>
            </a:extLst>
          </p:cNvPr>
          <p:cNvCxnSpPr/>
          <p:nvPr/>
        </p:nvCxnSpPr>
        <p:spPr>
          <a:xfrm>
            <a:off x="4587875" y="3892550"/>
            <a:ext cx="57943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F60206BF-A976-4A2A-B1C6-E234B605BF7A}"/>
              </a:ext>
            </a:extLst>
          </p:cNvPr>
          <p:cNvCxnSpPr>
            <a:cxnSpLocks/>
          </p:cNvCxnSpPr>
          <p:nvPr/>
        </p:nvCxnSpPr>
        <p:spPr>
          <a:xfrm>
            <a:off x="977900" y="2035175"/>
            <a:ext cx="3362325" cy="1754188"/>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FE6D3A05-BB32-4DEC-A4B6-A470E8289062}"/>
              </a:ext>
            </a:extLst>
          </p:cNvPr>
          <p:cNvSpPr/>
          <p:nvPr/>
        </p:nvSpPr>
        <p:spPr>
          <a:xfrm>
            <a:off x="201613" y="1238250"/>
            <a:ext cx="4602163" cy="307975"/>
          </a:xfrm>
          <a:prstGeom prst="rect">
            <a:avLst/>
          </a:prstGeom>
        </p:spPr>
        <p:txBody>
          <a:bodyPr wrap="square">
            <a:spAutoFit/>
          </a:bodyPr>
          <a:lstStyle/>
          <a:p>
            <a:pPr>
              <a:defRPr sz="1400" b="0" i="0" u="none" strike="noStrike" kern="1200" spc="0" baseline="0">
                <a:solidFill>
                  <a:srgbClr val="373334"/>
                </a:solidFill>
                <a:latin typeface="Arial" panose="020B0604020202020204" pitchFamily="34" charset="0"/>
                <a:ea typeface="+mn-ea"/>
                <a:cs typeface="Arial" panose="020B0604020202020204" pitchFamily="34" charset="0"/>
              </a:defRPr>
            </a:pPr>
            <a:r>
              <a:rPr lang="en-US" b="1" dirty="0">
                <a:solidFill>
                  <a:srgbClr val="373334"/>
                </a:solidFill>
                <a:latin typeface="Arial" panose="020B0604020202020204" pitchFamily="34" charset="0"/>
                <a:cs typeface="Arial" panose="020B0604020202020204" pitchFamily="34" charset="0"/>
              </a:rPr>
              <a:t>Fatalities Rate</a:t>
            </a:r>
          </a:p>
        </p:txBody>
      </p:sp>
      <p:sp>
        <p:nvSpPr>
          <p:cNvPr id="182" name="Arrow: Pentagon 181">
            <a:extLst>
              <a:ext uri="{FF2B5EF4-FFF2-40B4-BE49-F238E27FC236}">
                <a16:creationId xmlns:a16="http://schemas.microsoft.com/office/drawing/2014/main" id="{A73A7185-BB28-4C62-B143-22E24234ECFD}"/>
              </a:ext>
            </a:extLst>
          </p:cNvPr>
          <p:cNvSpPr/>
          <p:nvPr/>
        </p:nvSpPr>
        <p:spPr>
          <a:xfrm>
            <a:off x="5620984" y="2484437"/>
            <a:ext cx="422893" cy="1358900"/>
          </a:xfrm>
          <a:prstGeom prst="homePlate">
            <a:avLst>
              <a:gd name="adj" fmla="val 100000"/>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18C6F4B2-A3CB-4FEC-8C51-8769B572758F}"/>
              </a:ext>
            </a:extLst>
          </p:cNvPr>
          <p:cNvSpPr/>
          <p:nvPr/>
        </p:nvSpPr>
        <p:spPr>
          <a:xfrm>
            <a:off x="4464050" y="3590924"/>
            <a:ext cx="774700" cy="598488"/>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FBEEA396-FEBE-469E-849A-A43FC18D3A49}"/>
              </a:ext>
            </a:extLst>
          </p:cNvPr>
          <p:cNvSpPr/>
          <p:nvPr/>
        </p:nvSpPr>
        <p:spPr>
          <a:xfrm>
            <a:off x="6537678" y="2052638"/>
            <a:ext cx="530063" cy="2704409"/>
          </a:xfrm>
          <a:prstGeom prst="ellipse">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5" name="Group 184">
            <a:extLst>
              <a:ext uri="{FF2B5EF4-FFF2-40B4-BE49-F238E27FC236}">
                <a16:creationId xmlns:a16="http://schemas.microsoft.com/office/drawing/2014/main" id="{CB0275DE-3A01-4500-83A2-B865240087BB}"/>
              </a:ext>
            </a:extLst>
          </p:cNvPr>
          <p:cNvGrpSpPr/>
          <p:nvPr/>
        </p:nvGrpSpPr>
        <p:grpSpPr>
          <a:xfrm>
            <a:off x="2519725" y="4848756"/>
            <a:ext cx="4323840" cy="1301956"/>
            <a:chOff x="7637593" y="926560"/>
            <a:chExt cx="4323840" cy="1301956"/>
          </a:xfrm>
        </p:grpSpPr>
        <p:sp>
          <p:nvSpPr>
            <p:cNvPr id="186" name="Rectangle 185">
              <a:extLst>
                <a:ext uri="{FF2B5EF4-FFF2-40B4-BE49-F238E27FC236}">
                  <a16:creationId xmlns:a16="http://schemas.microsoft.com/office/drawing/2014/main" id="{9A00106E-3E62-44C9-97E8-46ACDABA4B76}"/>
                </a:ext>
              </a:extLst>
            </p:cNvPr>
            <p:cNvSpPr/>
            <p:nvPr/>
          </p:nvSpPr>
          <p:spPr>
            <a:xfrm>
              <a:off x="8395122" y="926560"/>
              <a:ext cx="3566311" cy="1301956"/>
            </a:xfrm>
            <a:prstGeom prst="rect">
              <a:avLst/>
            </a:prstGeom>
            <a:noFill/>
            <a:ln w="3810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373334"/>
                  </a:solidFill>
                  <a:latin typeface="Century Gothic" panose="020B0502020202020204" pitchFamily="34" charset="0"/>
                  <a:cs typeface="Arial" panose="020B0604020202020204" pitchFamily="34" charset="0"/>
                </a:rPr>
                <a:t>Safety efforts are giving results, but over past years the fatality rates have reached their plateau. We need to find new ways to approach the problem and continue on the right track.</a:t>
              </a:r>
            </a:p>
          </p:txBody>
        </p:sp>
        <p:pic>
          <p:nvPicPr>
            <p:cNvPr id="187" name="Picture 186" descr="A close up of a logo&#10;&#10;Description automatically generated">
              <a:extLst>
                <a:ext uri="{FF2B5EF4-FFF2-40B4-BE49-F238E27FC236}">
                  <a16:creationId xmlns:a16="http://schemas.microsoft.com/office/drawing/2014/main" id="{5481BF98-8C7A-4277-B6E3-F4171CF35D70}"/>
                </a:ext>
              </a:extLst>
            </p:cNvPr>
            <p:cNvPicPr>
              <a:picLocks noChangeAspect="1"/>
            </p:cNvPicPr>
            <p:nvPr/>
          </p:nvPicPr>
          <p:blipFill>
            <a:blip r:embed="rId75" cstate="print">
              <a:duotone>
                <a:prstClr val="black"/>
                <a:srgbClr val="15435B">
                  <a:tint val="45000"/>
                  <a:satMod val="400000"/>
                </a:srgbClr>
              </a:duotone>
              <a:extLst>
                <a:ext uri="{28A0092B-C50C-407E-A947-70E740481C1C}">
                  <a14:useLocalDpi xmlns:a14="http://schemas.microsoft.com/office/drawing/2010/main" val="0"/>
                </a:ext>
              </a:extLst>
            </a:blip>
            <a:stretch>
              <a:fillRect/>
            </a:stretch>
          </p:blipFill>
          <p:spPr>
            <a:xfrm>
              <a:off x="7699014" y="1004972"/>
              <a:ext cx="471266" cy="471266"/>
            </a:xfrm>
            <a:prstGeom prst="rect">
              <a:avLst/>
            </a:prstGeom>
          </p:spPr>
        </p:pic>
        <p:pic>
          <p:nvPicPr>
            <p:cNvPr id="188" name="Picture 187" descr="A close up of a logo&#10;&#10;Description automatically generated">
              <a:extLst>
                <a:ext uri="{FF2B5EF4-FFF2-40B4-BE49-F238E27FC236}">
                  <a16:creationId xmlns:a16="http://schemas.microsoft.com/office/drawing/2014/main" id="{77567288-42DF-40A8-9C5B-4302B36E5561}"/>
                </a:ext>
              </a:extLst>
            </p:cNvPr>
            <p:cNvPicPr>
              <a:picLocks noChangeAspect="1"/>
            </p:cNvPicPr>
            <p:nvPr/>
          </p:nvPicPr>
          <p:blipFill>
            <a:blip r:embed="rId76" cstate="print">
              <a:extLst>
                <a:ext uri="{28A0092B-C50C-407E-A947-70E740481C1C}">
                  <a14:useLocalDpi xmlns:a14="http://schemas.microsoft.com/office/drawing/2010/main" val="0"/>
                </a:ext>
              </a:extLst>
            </a:blip>
            <a:stretch>
              <a:fillRect/>
            </a:stretch>
          </p:blipFill>
          <p:spPr>
            <a:xfrm>
              <a:off x="7637593" y="1597467"/>
              <a:ext cx="606024" cy="606024"/>
            </a:xfrm>
            <a:prstGeom prst="rect">
              <a:avLst/>
            </a:prstGeom>
          </p:spPr>
        </p:pic>
      </p:grpSp>
      <p:cxnSp>
        <p:nvCxnSpPr>
          <p:cNvPr id="189" name="Connector: Curved 188">
            <a:extLst>
              <a:ext uri="{FF2B5EF4-FFF2-40B4-BE49-F238E27FC236}">
                <a16:creationId xmlns:a16="http://schemas.microsoft.com/office/drawing/2014/main" id="{20F3CA8D-9B60-42B5-AFE6-90AFACEF19FB}"/>
              </a:ext>
            </a:extLst>
          </p:cNvPr>
          <p:cNvCxnSpPr>
            <a:cxnSpLocks/>
          </p:cNvCxnSpPr>
          <p:nvPr/>
        </p:nvCxnSpPr>
        <p:spPr>
          <a:xfrm>
            <a:off x="5253079" y="3897475"/>
            <a:ext cx="367539" cy="869072"/>
          </a:xfrm>
          <a:prstGeom prst="curved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FD3A70CE-A371-4962-98D2-7496FC89DA7B}"/>
              </a:ext>
            </a:extLst>
          </p:cNvPr>
          <p:cNvSpPr txBox="1"/>
          <p:nvPr/>
        </p:nvSpPr>
        <p:spPr>
          <a:xfrm>
            <a:off x="10535205" y="5913490"/>
            <a:ext cx="1629590" cy="477054"/>
          </a:xfrm>
          <a:prstGeom prst="rect">
            <a:avLst/>
          </a:prstGeom>
          <a:noFill/>
        </p:spPr>
        <p:txBody>
          <a:bodyPr wrap="square" rtlCol="0" anchor="t">
            <a:spAutoFit/>
          </a:bodyPr>
          <a:lstStyle/>
          <a:p>
            <a:r>
              <a:rPr lang="en-US" sz="1600" b="1" dirty="0">
                <a:ea typeface="+mn-lt"/>
                <a:cs typeface="+mn-lt"/>
              </a:rPr>
              <a:t>Source: Footnote</a:t>
            </a:r>
            <a:endParaRPr lang="en-US" sz="1600" b="1" dirty="0">
              <a:cs typeface="Calibri Light"/>
            </a:endParaRPr>
          </a:p>
          <a:p>
            <a:endParaRPr lang="en-US" sz="900" dirty="0"/>
          </a:p>
        </p:txBody>
      </p:sp>
    </p:spTree>
    <p:extLst>
      <p:ext uri="{BB962C8B-B14F-4D97-AF65-F5344CB8AC3E}">
        <p14:creationId xmlns:p14="http://schemas.microsoft.com/office/powerpoint/2010/main" val="424387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0"/>
                                        </p:tgtEl>
                                        <p:attrNameLst>
                                          <p:attrName>style.visibility</p:attrName>
                                        </p:attrNameLst>
                                      </p:cBhvr>
                                      <p:to>
                                        <p:strVal val="visible"/>
                                      </p:to>
                                    </p:set>
                                    <p:animEffect transition="in" filter="fade">
                                      <p:cBhvr>
                                        <p:cTn id="7" dur="500"/>
                                        <p:tgtEl>
                                          <p:spTgt spid="180"/>
                                        </p:tgtEl>
                                      </p:cBhvr>
                                    </p:animEffect>
                                  </p:childTnLst>
                                </p:cTn>
                              </p:par>
                              <p:par>
                                <p:cTn id="8" presetID="10" presetClass="entr" presetSubtype="0" fill="hold" nodeType="withEffect">
                                  <p:stCondLst>
                                    <p:cond delay="0"/>
                                  </p:stCondLst>
                                  <p:childTnLst>
                                    <p:set>
                                      <p:cBhvr>
                                        <p:cTn id="9" dur="1" fill="hold">
                                          <p:stCondLst>
                                            <p:cond delay="0"/>
                                          </p:stCondLst>
                                        </p:cTn>
                                        <p:tgtEl>
                                          <p:spTgt spid="179"/>
                                        </p:tgtEl>
                                        <p:attrNameLst>
                                          <p:attrName>style.visibility</p:attrName>
                                        </p:attrNameLst>
                                      </p:cBhvr>
                                      <p:to>
                                        <p:strVal val="visible"/>
                                      </p:to>
                                    </p:set>
                                    <p:animEffect transition="in" filter="fade">
                                      <p:cBhvr>
                                        <p:cTn id="10" dur="500"/>
                                        <p:tgtEl>
                                          <p:spTgt spid="17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3"/>
                                        </p:tgtEl>
                                        <p:attrNameLst>
                                          <p:attrName>style.visibility</p:attrName>
                                        </p:attrNameLst>
                                      </p:cBhvr>
                                      <p:to>
                                        <p:strVal val="visible"/>
                                      </p:to>
                                    </p:set>
                                    <p:animEffect transition="in" filter="fade">
                                      <p:cBhvr>
                                        <p:cTn id="13" dur="500"/>
                                        <p:tgtEl>
                                          <p:spTgt spid="183"/>
                                        </p:tgtEl>
                                      </p:cBhvr>
                                    </p:animEffect>
                                  </p:childTnLst>
                                </p:cTn>
                              </p:par>
                              <p:par>
                                <p:cTn id="14" presetID="10" presetClass="entr" presetSubtype="0" fill="hold" nodeType="withEffect">
                                  <p:stCondLst>
                                    <p:cond delay="0"/>
                                  </p:stCondLst>
                                  <p:childTnLst>
                                    <p:set>
                                      <p:cBhvr>
                                        <p:cTn id="15" dur="1" fill="hold">
                                          <p:stCondLst>
                                            <p:cond delay="0"/>
                                          </p:stCondLst>
                                        </p:cTn>
                                        <p:tgtEl>
                                          <p:spTgt spid="189"/>
                                        </p:tgtEl>
                                        <p:attrNameLst>
                                          <p:attrName>style.visibility</p:attrName>
                                        </p:attrNameLst>
                                      </p:cBhvr>
                                      <p:to>
                                        <p:strVal val="visible"/>
                                      </p:to>
                                    </p:set>
                                    <p:animEffect transition="in" filter="fade">
                                      <p:cBhvr>
                                        <p:cTn id="16" dur="500"/>
                                        <p:tgtEl>
                                          <p:spTgt spid="189"/>
                                        </p:tgtEl>
                                      </p:cBhvr>
                                    </p:animEffect>
                                  </p:childTnLst>
                                </p:cTn>
                              </p:par>
                              <p:par>
                                <p:cTn id="17" presetID="10" presetClass="entr" presetSubtype="0" fill="hold" nodeType="withEffect">
                                  <p:stCondLst>
                                    <p:cond delay="0"/>
                                  </p:stCondLst>
                                  <p:childTnLst>
                                    <p:set>
                                      <p:cBhvr>
                                        <p:cTn id="18" dur="1" fill="hold">
                                          <p:stCondLst>
                                            <p:cond delay="0"/>
                                          </p:stCondLst>
                                        </p:cTn>
                                        <p:tgtEl>
                                          <p:spTgt spid="185"/>
                                        </p:tgtEl>
                                        <p:attrNameLst>
                                          <p:attrName>style.visibility</p:attrName>
                                        </p:attrNameLst>
                                      </p:cBhvr>
                                      <p:to>
                                        <p:strVal val="visible"/>
                                      </p:to>
                                    </p:set>
                                    <p:animEffect transition="in" filter="fade">
                                      <p:cBhvr>
                                        <p:cTn id="19" dur="500"/>
                                        <p:tgtEl>
                                          <p:spTgt spid="18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fade">
                                      <p:cBhvr>
                                        <p:cTn id="24" dur="500"/>
                                        <p:tgtEl>
                                          <p:spTgt spid="108"/>
                                        </p:tgtEl>
                                      </p:cBhvr>
                                    </p:animEffect>
                                  </p:childTnLst>
                                </p:cTn>
                              </p:par>
                              <p:par>
                                <p:cTn id="25" presetID="10" presetClass="entr" presetSubtype="0" fill="hold" nodeType="withEffect">
                                  <p:stCondLst>
                                    <p:cond delay="0"/>
                                  </p:stCondLst>
                                  <p:childTnLst>
                                    <p:set>
                                      <p:cBhvr>
                                        <p:cTn id="26" dur="1" fill="hold">
                                          <p:stCondLst>
                                            <p:cond delay="0"/>
                                          </p:stCondLst>
                                        </p:cTn>
                                        <p:tgtEl>
                                          <p:spTgt spid="109"/>
                                        </p:tgtEl>
                                        <p:attrNameLst>
                                          <p:attrName>style.visibility</p:attrName>
                                        </p:attrNameLst>
                                      </p:cBhvr>
                                      <p:to>
                                        <p:strVal val="visible"/>
                                      </p:to>
                                    </p:set>
                                    <p:animEffect transition="in" filter="fade">
                                      <p:cBhvr>
                                        <p:cTn id="27" dur="500"/>
                                        <p:tgtEl>
                                          <p:spTgt spid="109"/>
                                        </p:tgtEl>
                                      </p:cBhvr>
                                    </p:animEffect>
                                  </p:childTnLst>
                                </p:cTn>
                              </p:par>
                              <p:par>
                                <p:cTn id="28" presetID="10" presetClass="entr" presetSubtype="0" fill="hold" nodeType="withEffect">
                                  <p:stCondLst>
                                    <p:cond delay="0"/>
                                  </p:stCondLst>
                                  <p:childTnLst>
                                    <p:set>
                                      <p:cBhvr>
                                        <p:cTn id="29" dur="1" fill="hold">
                                          <p:stCondLst>
                                            <p:cond delay="0"/>
                                          </p:stCondLst>
                                        </p:cTn>
                                        <p:tgtEl>
                                          <p:spTgt spid="110"/>
                                        </p:tgtEl>
                                        <p:attrNameLst>
                                          <p:attrName>style.visibility</p:attrName>
                                        </p:attrNameLst>
                                      </p:cBhvr>
                                      <p:to>
                                        <p:strVal val="visible"/>
                                      </p:to>
                                    </p:set>
                                    <p:animEffect transition="in" filter="fade">
                                      <p:cBhvr>
                                        <p:cTn id="30" dur="500"/>
                                        <p:tgtEl>
                                          <p:spTgt spid="110"/>
                                        </p:tgtEl>
                                      </p:cBhvr>
                                    </p:animEffect>
                                  </p:childTnLst>
                                </p:cTn>
                              </p:par>
                              <p:par>
                                <p:cTn id="31" presetID="10" presetClass="entr" presetSubtype="0" fill="hold" nodeType="withEffect">
                                  <p:stCondLst>
                                    <p:cond delay="0"/>
                                  </p:stCondLst>
                                  <p:childTnLst>
                                    <p:set>
                                      <p:cBhvr>
                                        <p:cTn id="32" dur="1" fill="hold">
                                          <p:stCondLst>
                                            <p:cond delay="0"/>
                                          </p:stCondLst>
                                        </p:cTn>
                                        <p:tgtEl>
                                          <p:spTgt spid="111"/>
                                        </p:tgtEl>
                                        <p:attrNameLst>
                                          <p:attrName>style.visibility</p:attrName>
                                        </p:attrNameLst>
                                      </p:cBhvr>
                                      <p:to>
                                        <p:strVal val="visible"/>
                                      </p:to>
                                    </p:set>
                                    <p:animEffect transition="in" filter="fade">
                                      <p:cBhvr>
                                        <p:cTn id="33" dur="500"/>
                                        <p:tgtEl>
                                          <p:spTgt spid="11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12"/>
                                        </p:tgtEl>
                                        <p:attrNameLst>
                                          <p:attrName>style.visibility</p:attrName>
                                        </p:attrNameLst>
                                      </p:cBhvr>
                                      <p:to>
                                        <p:strVal val="visible"/>
                                      </p:to>
                                    </p:set>
                                    <p:animEffect transition="in" filter="fade">
                                      <p:cBhvr>
                                        <p:cTn id="36" dur="500"/>
                                        <p:tgtEl>
                                          <p:spTgt spid="1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14"/>
                                        </p:tgtEl>
                                        <p:attrNameLst>
                                          <p:attrName>style.visibility</p:attrName>
                                        </p:attrNameLst>
                                      </p:cBhvr>
                                      <p:to>
                                        <p:strVal val="visible"/>
                                      </p:to>
                                    </p:set>
                                    <p:animEffect transition="in" filter="fade">
                                      <p:cBhvr>
                                        <p:cTn id="42" dur="500"/>
                                        <p:tgtEl>
                                          <p:spTgt spid="1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15"/>
                                        </p:tgtEl>
                                        <p:attrNameLst>
                                          <p:attrName>style.visibility</p:attrName>
                                        </p:attrNameLst>
                                      </p:cBhvr>
                                      <p:to>
                                        <p:strVal val="visible"/>
                                      </p:to>
                                    </p:set>
                                    <p:animEffect transition="in" filter="fade">
                                      <p:cBhvr>
                                        <p:cTn id="45" dur="500"/>
                                        <p:tgtEl>
                                          <p:spTgt spid="11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16"/>
                                        </p:tgtEl>
                                        <p:attrNameLst>
                                          <p:attrName>style.visibility</p:attrName>
                                        </p:attrNameLst>
                                      </p:cBhvr>
                                      <p:to>
                                        <p:strVal val="visible"/>
                                      </p:to>
                                    </p:set>
                                    <p:animEffect transition="in" filter="fade">
                                      <p:cBhvr>
                                        <p:cTn id="48" dur="500"/>
                                        <p:tgtEl>
                                          <p:spTgt spid="11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7"/>
                                        </p:tgtEl>
                                        <p:attrNameLst>
                                          <p:attrName>style.visibility</p:attrName>
                                        </p:attrNameLst>
                                      </p:cBhvr>
                                      <p:to>
                                        <p:strVal val="visible"/>
                                      </p:to>
                                    </p:set>
                                    <p:animEffect transition="in" filter="fade">
                                      <p:cBhvr>
                                        <p:cTn id="51" dur="500"/>
                                        <p:tgtEl>
                                          <p:spTgt spid="1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19"/>
                                        </p:tgtEl>
                                        <p:attrNameLst>
                                          <p:attrName>style.visibility</p:attrName>
                                        </p:attrNameLst>
                                      </p:cBhvr>
                                      <p:to>
                                        <p:strVal val="visible"/>
                                      </p:to>
                                    </p:set>
                                    <p:animEffect transition="in" filter="fade">
                                      <p:cBhvr>
                                        <p:cTn id="57" dur="500"/>
                                        <p:tgtEl>
                                          <p:spTgt spid="11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20"/>
                                        </p:tgtEl>
                                        <p:attrNameLst>
                                          <p:attrName>style.visibility</p:attrName>
                                        </p:attrNameLst>
                                      </p:cBhvr>
                                      <p:to>
                                        <p:strVal val="visible"/>
                                      </p:to>
                                    </p:set>
                                    <p:animEffect transition="in" filter="fade">
                                      <p:cBhvr>
                                        <p:cTn id="60" dur="500"/>
                                        <p:tgtEl>
                                          <p:spTgt spid="120"/>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1"/>
                                        </p:tgtEl>
                                        <p:attrNameLst>
                                          <p:attrName>style.visibility</p:attrName>
                                        </p:attrNameLst>
                                      </p:cBhvr>
                                      <p:to>
                                        <p:strVal val="visible"/>
                                      </p:to>
                                    </p:set>
                                    <p:animEffect transition="in" filter="fade">
                                      <p:cBhvr>
                                        <p:cTn id="63" dur="500"/>
                                        <p:tgtEl>
                                          <p:spTgt spid="121"/>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22"/>
                                        </p:tgtEl>
                                        <p:attrNameLst>
                                          <p:attrName>style.visibility</p:attrName>
                                        </p:attrNameLst>
                                      </p:cBhvr>
                                      <p:to>
                                        <p:strVal val="visible"/>
                                      </p:to>
                                    </p:set>
                                    <p:animEffect transition="in" filter="fade">
                                      <p:cBhvr>
                                        <p:cTn id="66" dur="500"/>
                                        <p:tgtEl>
                                          <p:spTgt spid="122"/>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23"/>
                                        </p:tgtEl>
                                        <p:attrNameLst>
                                          <p:attrName>style.visibility</p:attrName>
                                        </p:attrNameLst>
                                      </p:cBhvr>
                                      <p:to>
                                        <p:strVal val="visible"/>
                                      </p:to>
                                    </p:set>
                                    <p:animEffect transition="in" filter="fade">
                                      <p:cBhvr>
                                        <p:cTn id="69" dur="500"/>
                                        <p:tgtEl>
                                          <p:spTgt spid="123"/>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24"/>
                                        </p:tgtEl>
                                        <p:attrNameLst>
                                          <p:attrName>style.visibility</p:attrName>
                                        </p:attrNameLst>
                                      </p:cBhvr>
                                      <p:to>
                                        <p:strVal val="visible"/>
                                      </p:to>
                                    </p:set>
                                    <p:animEffect transition="in" filter="fade">
                                      <p:cBhvr>
                                        <p:cTn id="72" dur="500"/>
                                        <p:tgtEl>
                                          <p:spTgt spid="12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25"/>
                                        </p:tgtEl>
                                        <p:attrNameLst>
                                          <p:attrName>style.visibility</p:attrName>
                                        </p:attrNameLst>
                                      </p:cBhvr>
                                      <p:to>
                                        <p:strVal val="visible"/>
                                      </p:to>
                                    </p:set>
                                    <p:animEffect transition="in" filter="fade">
                                      <p:cBhvr>
                                        <p:cTn id="75" dur="500"/>
                                        <p:tgtEl>
                                          <p:spTgt spid="12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26"/>
                                        </p:tgtEl>
                                        <p:attrNameLst>
                                          <p:attrName>style.visibility</p:attrName>
                                        </p:attrNameLst>
                                      </p:cBhvr>
                                      <p:to>
                                        <p:strVal val="visible"/>
                                      </p:to>
                                    </p:set>
                                    <p:animEffect transition="in" filter="fade">
                                      <p:cBhvr>
                                        <p:cTn id="78" dur="500"/>
                                        <p:tgtEl>
                                          <p:spTgt spid="1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7"/>
                                        </p:tgtEl>
                                        <p:attrNameLst>
                                          <p:attrName>style.visibility</p:attrName>
                                        </p:attrNameLst>
                                      </p:cBhvr>
                                      <p:to>
                                        <p:strVal val="visible"/>
                                      </p:to>
                                    </p:set>
                                    <p:animEffect transition="in" filter="fade">
                                      <p:cBhvr>
                                        <p:cTn id="81" dur="500"/>
                                        <p:tgtEl>
                                          <p:spTgt spid="12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28"/>
                                        </p:tgtEl>
                                        <p:attrNameLst>
                                          <p:attrName>style.visibility</p:attrName>
                                        </p:attrNameLst>
                                      </p:cBhvr>
                                      <p:to>
                                        <p:strVal val="visible"/>
                                      </p:to>
                                    </p:set>
                                    <p:animEffect transition="in" filter="fade">
                                      <p:cBhvr>
                                        <p:cTn id="84" dur="500"/>
                                        <p:tgtEl>
                                          <p:spTgt spid="128"/>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29"/>
                                        </p:tgtEl>
                                        <p:attrNameLst>
                                          <p:attrName>style.visibility</p:attrName>
                                        </p:attrNameLst>
                                      </p:cBhvr>
                                      <p:to>
                                        <p:strVal val="visible"/>
                                      </p:to>
                                    </p:set>
                                    <p:animEffect transition="in" filter="fade">
                                      <p:cBhvr>
                                        <p:cTn id="87" dur="500"/>
                                        <p:tgtEl>
                                          <p:spTgt spid="129"/>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30"/>
                                        </p:tgtEl>
                                        <p:attrNameLst>
                                          <p:attrName>style.visibility</p:attrName>
                                        </p:attrNameLst>
                                      </p:cBhvr>
                                      <p:to>
                                        <p:strVal val="visible"/>
                                      </p:to>
                                    </p:set>
                                    <p:animEffect transition="in" filter="fade">
                                      <p:cBhvr>
                                        <p:cTn id="90" dur="500"/>
                                        <p:tgtEl>
                                          <p:spTgt spid="130"/>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82"/>
                                        </p:tgtEl>
                                        <p:attrNameLst>
                                          <p:attrName>style.visibility</p:attrName>
                                        </p:attrNameLst>
                                      </p:cBhvr>
                                      <p:to>
                                        <p:strVal val="visible"/>
                                      </p:to>
                                    </p:set>
                                    <p:animEffect transition="in" filter="fade">
                                      <p:cBhvr>
                                        <p:cTn id="93" dur="500"/>
                                        <p:tgtEl>
                                          <p:spTgt spid="18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84"/>
                                        </p:tgtEl>
                                        <p:attrNameLst>
                                          <p:attrName>style.visibility</p:attrName>
                                        </p:attrNameLst>
                                      </p:cBhvr>
                                      <p:to>
                                        <p:strVal val="visible"/>
                                      </p:to>
                                    </p:set>
                                    <p:animEffect transition="in" filter="fade">
                                      <p:cBhvr>
                                        <p:cTn id="96" dur="500"/>
                                        <p:tgtEl>
                                          <p:spTgt spid="1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2" grpId="0">
        <p:bldAsOne/>
      </p:bldGraphic>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animBg="1"/>
      <p:bldP spid="129" grpId="0" animBg="1"/>
      <p:bldP spid="130" grpId="0"/>
      <p:bldP spid="182" grpId="0" animBg="1"/>
      <p:bldP spid="183" grpId="0" animBg="1"/>
      <p:bldP spid="18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0976B6-038C-4BDA-8BCE-F4635E881E4F}"/>
              </a:ext>
            </a:extLst>
          </p:cNvPr>
          <p:cNvPicPr>
            <a:picLocks noChangeAspect="1"/>
          </p:cNvPicPr>
          <p:nvPr/>
        </p:nvPicPr>
        <p:blipFill>
          <a:blip r:embed="rId3"/>
          <a:stretch>
            <a:fillRect/>
          </a:stretch>
        </p:blipFill>
        <p:spPr>
          <a:xfrm>
            <a:off x="6545025" y="3531378"/>
            <a:ext cx="5061991" cy="1632492"/>
          </a:xfrm>
          <a:prstGeom prst="rect">
            <a:avLst/>
          </a:prstGeom>
        </p:spPr>
      </p:pic>
      <p:sp>
        <p:nvSpPr>
          <p:cNvPr id="5" name="TextBox 4">
            <a:extLst>
              <a:ext uri="{FF2B5EF4-FFF2-40B4-BE49-F238E27FC236}">
                <a16:creationId xmlns:a16="http://schemas.microsoft.com/office/drawing/2014/main" id="{B6836C87-F082-4B4A-9046-D2F881B6E338}"/>
              </a:ext>
            </a:extLst>
          </p:cNvPr>
          <p:cNvSpPr txBox="1"/>
          <p:nvPr/>
        </p:nvSpPr>
        <p:spPr>
          <a:xfrm>
            <a:off x="10517631" y="5898073"/>
            <a:ext cx="1625619" cy="338554"/>
          </a:xfrm>
          <a:prstGeom prst="rect">
            <a:avLst/>
          </a:prstGeom>
          <a:noFill/>
        </p:spPr>
        <p:txBody>
          <a:bodyPr wrap="square" rtlCol="0" anchor="t">
            <a:spAutoFit/>
          </a:bodyPr>
          <a:lstStyle/>
          <a:p>
            <a:r>
              <a:rPr lang="en-US" sz="1600" b="1">
                <a:ea typeface="+mn-lt"/>
                <a:cs typeface="+mn-lt"/>
              </a:rPr>
              <a:t>Source: Footnote</a:t>
            </a:r>
            <a:endParaRPr lang="en-GB" sz="1600">
              <a:solidFill>
                <a:srgbClr val="000000"/>
              </a:solidFill>
              <a:cs typeface="Calibri Light"/>
            </a:endParaRPr>
          </a:p>
        </p:txBody>
      </p:sp>
      <p:pic>
        <p:nvPicPr>
          <p:cNvPr id="6" name="Picture 5">
            <a:extLst>
              <a:ext uri="{FF2B5EF4-FFF2-40B4-BE49-F238E27FC236}">
                <a16:creationId xmlns:a16="http://schemas.microsoft.com/office/drawing/2014/main" id="{25669C9B-5710-4BB2-996B-4E0AA295A7D3}"/>
              </a:ext>
            </a:extLst>
          </p:cNvPr>
          <p:cNvPicPr>
            <a:picLocks noChangeAspect="1"/>
          </p:cNvPicPr>
          <p:nvPr/>
        </p:nvPicPr>
        <p:blipFill rotWithShape="1">
          <a:blip r:embed="rId4"/>
          <a:srcRect l="3155"/>
          <a:stretch/>
        </p:blipFill>
        <p:spPr>
          <a:xfrm>
            <a:off x="357672" y="1380669"/>
            <a:ext cx="5142089" cy="1463580"/>
          </a:xfrm>
          <a:prstGeom prst="rect">
            <a:avLst/>
          </a:prstGeom>
        </p:spPr>
      </p:pic>
      <p:pic>
        <p:nvPicPr>
          <p:cNvPr id="7" name="Picture 6">
            <a:extLst>
              <a:ext uri="{FF2B5EF4-FFF2-40B4-BE49-F238E27FC236}">
                <a16:creationId xmlns:a16="http://schemas.microsoft.com/office/drawing/2014/main" id="{892FC77A-8391-EE48-8226-A190B02F2A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672" y="4489240"/>
            <a:ext cx="4996465" cy="943873"/>
          </a:xfrm>
          <a:prstGeom prst="rect">
            <a:avLst/>
          </a:prstGeom>
        </p:spPr>
      </p:pic>
      <p:pic>
        <p:nvPicPr>
          <p:cNvPr id="8" name="Picture 7">
            <a:extLst>
              <a:ext uri="{FF2B5EF4-FFF2-40B4-BE49-F238E27FC236}">
                <a16:creationId xmlns:a16="http://schemas.microsoft.com/office/drawing/2014/main" id="{CBC3DB5A-516E-40F7-AF9A-415BC69517D9}"/>
              </a:ext>
            </a:extLst>
          </p:cNvPr>
          <p:cNvPicPr>
            <a:picLocks noChangeAspect="1"/>
          </p:cNvPicPr>
          <p:nvPr/>
        </p:nvPicPr>
        <p:blipFill>
          <a:blip r:embed="rId6"/>
          <a:stretch>
            <a:fillRect/>
          </a:stretch>
        </p:blipFill>
        <p:spPr>
          <a:xfrm>
            <a:off x="6546927" y="1377925"/>
            <a:ext cx="5054632" cy="1463580"/>
          </a:xfrm>
          <a:prstGeom prst="rect">
            <a:avLst/>
          </a:prstGeom>
        </p:spPr>
      </p:pic>
      <p:cxnSp>
        <p:nvCxnSpPr>
          <p:cNvPr id="9" name="Straight Connector 8">
            <a:extLst>
              <a:ext uri="{FF2B5EF4-FFF2-40B4-BE49-F238E27FC236}">
                <a16:creationId xmlns:a16="http://schemas.microsoft.com/office/drawing/2014/main" id="{53F6776C-250A-405E-85D3-CA07EFD96D89}"/>
              </a:ext>
            </a:extLst>
          </p:cNvPr>
          <p:cNvCxnSpPr/>
          <p:nvPr/>
        </p:nvCxnSpPr>
        <p:spPr>
          <a:xfrm>
            <a:off x="311350" y="6495325"/>
            <a:ext cx="11373916" cy="13025"/>
          </a:xfrm>
          <a:prstGeom prst="line">
            <a:avLst/>
          </a:prstGeom>
          <a:ln>
            <a:solidFill>
              <a:srgbClr val="373334"/>
            </a:solidFill>
          </a:ln>
        </p:spPr>
        <p:style>
          <a:lnRef idx="1">
            <a:schemeClr val="accent1"/>
          </a:lnRef>
          <a:fillRef idx="0">
            <a:schemeClr val="accent1"/>
          </a:fillRef>
          <a:effectRef idx="0">
            <a:schemeClr val="accent1"/>
          </a:effectRef>
          <a:fontRef idx="minor">
            <a:schemeClr val="tx1"/>
          </a:fontRef>
        </p:style>
      </p:cxnSp>
      <p:sp>
        <p:nvSpPr>
          <p:cNvPr id="10" name="Slide Number Placeholder 9">
            <a:extLst>
              <a:ext uri="{FF2B5EF4-FFF2-40B4-BE49-F238E27FC236}">
                <a16:creationId xmlns:a16="http://schemas.microsoft.com/office/drawing/2014/main" id="{9E4819B3-5F25-4049-B644-E22E9D8EFC48}"/>
              </a:ext>
            </a:extLst>
          </p:cNvPr>
          <p:cNvSpPr>
            <a:spLocks noGrp="1"/>
          </p:cNvSpPr>
          <p:nvPr>
            <p:ph type="sldNum" sz="quarter" idx="33"/>
          </p:nvPr>
        </p:nvSpPr>
        <p:spPr/>
        <p:txBody>
          <a:bodyPr/>
          <a:lstStyle/>
          <a:p>
            <a:fld id="{330EA680-D336-4FF7-8B7A-9848BB0A1C32}" type="slidenum">
              <a:rPr lang="en-US" smtClean="0"/>
              <a:t>4</a:t>
            </a:fld>
            <a:endParaRPr lang="en-US"/>
          </a:p>
        </p:txBody>
      </p:sp>
      <p:pic>
        <p:nvPicPr>
          <p:cNvPr id="11" name="Picture 10">
            <a:extLst>
              <a:ext uri="{FF2B5EF4-FFF2-40B4-BE49-F238E27FC236}">
                <a16:creationId xmlns:a16="http://schemas.microsoft.com/office/drawing/2014/main" id="{5D113917-434E-47A6-9E34-86CC64D66D1E}"/>
              </a:ext>
            </a:extLst>
          </p:cNvPr>
          <p:cNvPicPr>
            <a:picLocks noChangeAspect="1"/>
          </p:cNvPicPr>
          <p:nvPr/>
        </p:nvPicPr>
        <p:blipFill>
          <a:blip r:embed="rId7"/>
          <a:stretch>
            <a:fillRect/>
          </a:stretch>
        </p:blipFill>
        <p:spPr>
          <a:xfrm>
            <a:off x="356195" y="2838076"/>
            <a:ext cx="5838105" cy="1281171"/>
          </a:xfrm>
          <a:prstGeom prst="rect">
            <a:avLst/>
          </a:prstGeom>
        </p:spPr>
      </p:pic>
      <p:sp>
        <p:nvSpPr>
          <p:cNvPr id="2" name="TextBox 1">
            <a:extLst>
              <a:ext uri="{FF2B5EF4-FFF2-40B4-BE49-F238E27FC236}">
                <a16:creationId xmlns:a16="http://schemas.microsoft.com/office/drawing/2014/main" id="{202B4D69-E695-4EED-AA59-9637D32D6B47}"/>
              </a:ext>
            </a:extLst>
          </p:cNvPr>
          <p:cNvSpPr txBox="1"/>
          <p:nvPr/>
        </p:nvSpPr>
        <p:spPr>
          <a:xfrm>
            <a:off x="448887" y="406656"/>
            <a:ext cx="11531853" cy="584775"/>
          </a:xfrm>
          <a:prstGeom prst="rect">
            <a:avLst/>
          </a:prstGeom>
          <a:noFill/>
        </p:spPr>
        <p:txBody>
          <a:bodyPr wrap="square" rtlCol="0" anchor="t">
            <a:spAutoFit/>
          </a:bodyPr>
          <a:lstStyle/>
          <a:p>
            <a:r>
              <a:rPr lang="en-US" sz="3200" b="1" dirty="0">
                <a:solidFill>
                  <a:schemeClr val="tx2"/>
                </a:solidFill>
                <a:latin typeface="Century Gothic" panose="020B0502020202020204" pitchFamily="34" charset="0"/>
                <a:cs typeface="Arial"/>
              </a:rPr>
              <a:t>A Sa</a:t>
            </a:r>
            <a:r>
              <a:rPr lang="en-US" sz="3200" b="1" dirty="0">
                <a:solidFill>
                  <a:srgbClr val="FF0000"/>
                </a:solidFill>
                <a:latin typeface="Century Gothic" panose="020B0502020202020204" pitchFamily="34" charset="0"/>
                <a:cs typeface="Arial"/>
              </a:rPr>
              <a:t>(f)</a:t>
            </a:r>
            <a:r>
              <a:rPr lang="en-US" sz="3200" b="1" dirty="0" err="1">
                <a:solidFill>
                  <a:schemeClr val="tx2"/>
                </a:solidFill>
                <a:latin typeface="Century Gothic" panose="020B0502020202020204" pitchFamily="34" charset="0"/>
                <a:cs typeface="Arial"/>
              </a:rPr>
              <a:t>ing</a:t>
            </a:r>
            <a:r>
              <a:rPr lang="en-US" sz="3200" b="1" dirty="0">
                <a:solidFill>
                  <a:schemeClr val="tx2"/>
                </a:solidFill>
                <a:latin typeface="Century Gothic" panose="020B0502020202020204" pitchFamily="34" charset="0"/>
                <a:cs typeface="Arial"/>
              </a:rPr>
              <a:t> Grace</a:t>
            </a:r>
            <a:endParaRPr lang="ru-RU" sz="3200" b="1" dirty="0">
              <a:solidFill>
                <a:schemeClr val="tx2"/>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649489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50"/>
                                        <p:tgtEl>
                                          <p:spTgt spid="7"/>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750"/>
                                        <p:tgtEl>
                                          <p:spTgt spid="11"/>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A screen shot of a person and person posing for a photo&#10;&#10;Description generated with high confidence">
            <a:extLst>
              <a:ext uri="{FF2B5EF4-FFF2-40B4-BE49-F238E27FC236}">
                <a16:creationId xmlns:a16="http://schemas.microsoft.com/office/drawing/2014/main" id="{D8654882-21CD-4CDC-8F93-D261C5317143}"/>
              </a:ext>
            </a:extLst>
          </p:cNvPr>
          <p:cNvPicPr>
            <a:picLocks noChangeAspect="1"/>
          </p:cNvPicPr>
          <p:nvPr/>
        </p:nvPicPr>
        <p:blipFill>
          <a:blip r:embed="rId2"/>
          <a:stretch>
            <a:fillRect/>
          </a:stretch>
        </p:blipFill>
        <p:spPr>
          <a:xfrm>
            <a:off x="196574" y="1100746"/>
            <a:ext cx="6818243" cy="3938681"/>
          </a:xfrm>
          <a:prstGeom prst="rect">
            <a:avLst/>
          </a:prstGeom>
        </p:spPr>
      </p:pic>
      <p:cxnSp>
        <p:nvCxnSpPr>
          <p:cNvPr id="5" name="Straight Connector 4">
            <a:extLst>
              <a:ext uri="{FF2B5EF4-FFF2-40B4-BE49-F238E27FC236}">
                <a16:creationId xmlns:a16="http://schemas.microsoft.com/office/drawing/2014/main" id="{5CA1AE3F-710F-4A48-B30C-A0EBB7F24920}"/>
              </a:ext>
            </a:extLst>
          </p:cNvPr>
          <p:cNvCxnSpPr/>
          <p:nvPr/>
        </p:nvCxnSpPr>
        <p:spPr>
          <a:xfrm>
            <a:off x="311350" y="6495325"/>
            <a:ext cx="11351587" cy="12806"/>
          </a:xfrm>
          <a:prstGeom prst="line">
            <a:avLst/>
          </a:prstGeom>
          <a:ln>
            <a:solidFill>
              <a:srgbClr val="373334"/>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5806D946-4987-4585-97B2-7AD3B54D6588}"/>
              </a:ext>
            </a:extLst>
          </p:cNvPr>
          <p:cNvSpPr>
            <a:spLocks noGrp="1"/>
          </p:cNvSpPr>
          <p:nvPr>
            <p:ph type="sldNum" sz="quarter" idx="13"/>
          </p:nvPr>
        </p:nvSpPr>
        <p:spPr/>
        <p:txBody>
          <a:bodyPr/>
          <a:lstStyle/>
          <a:p>
            <a:fld id="{330EA680-D336-4FF7-8B7A-9848BB0A1C32}" type="slidenum">
              <a:rPr lang="en-US" smtClean="0"/>
              <a:t>5</a:t>
            </a:fld>
            <a:endParaRPr lang="en-US"/>
          </a:p>
        </p:txBody>
      </p:sp>
      <p:sp>
        <p:nvSpPr>
          <p:cNvPr id="2" name="TextBox 1">
            <a:extLst>
              <a:ext uri="{FF2B5EF4-FFF2-40B4-BE49-F238E27FC236}">
                <a16:creationId xmlns:a16="http://schemas.microsoft.com/office/drawing/2014/main" id="{20A65CB7-FC66-4A15-AB6C-E0B6DB7E3D95}"/>
              </a:ext>
            </a:extLst>
          </p:cNvPr>
          <p:cNvSpPr txBox="1"/>
          <p:nvPr/>
        </p:nvSpPr>
        <p:spPr>
          <a:xfrm>
            <a:off x="441630" y="406656"/>
            <a:ext cx="11531853" cy="584775"/>
          </a:xfrm>
          <a:prstGeom prst="rect">
            <a:avLst/>
          </a:prstGeom>
          <a:noFill/>
        </p:spPr>
        <p:txBody>
          <a:bodyPr wrap="square" rtlCol="0" anchor="t">
            <a:spAutoFit/>
          </a:bodyPr>
          <a:lstStyle/>
          <a:p>
            <a:r>
              <a:rPr lang="en-US" sz="3200" b="1" dirty="0">
                <a:solidFill>
                  <a:srgbClr val="373334"/>
                </a:solidFill>
                <a:latin typeface="Century Gothic" panose="020B0502020202020204" pitchFamily="34" charset="0"/>
                <a:cs typeface="Arial"/>
              </a:rPr>
              <a:t>A Fail </a:t>
            </a:r>
            <a:r>
              <a:rPr lang="en-US" sz="3200" b="1" dirty="0">
                <a:solidFill>
                  <a:srgbClr val="FF0000"/>
                </a:solidFill>
                <a:latin typeface="Century Gothic" panose="020B0502020202020204" pitchFamily="34" charset="0"/>
                <a:cs typeface="Arial"/>
              </a:rPr>
              <a:t>Safe</a:t>
            </a:r>
            <a:r>
              <a:rPr lang="en-US" sz="3200" b="1" dirty="0">
                <a:solidFill>
                  <a:srgbClr val="373334"/>
                </a:solidFill>
                <a:latin typeface="Century Gothic" panose="020B0502020202020204" pitchFamily="34" charset="0"/>
                <a:cs typeface="Arial"/>
              </a:rPr>
              <a:t> Solution</a:t>
            </a:r>
            <a:endParaRPr lang="en-US" sz="3200" dirty="0">
              <a:latin typeface="Century Gothic" panose="020B0502020202020204" pitchFamily="34" charset="0"/>
            </a:endParaRPr>
          </a:p>
        </p:txBody>
      </p:sp>
      <p:pic>
        <p:nvPicPr>
          <p:cNvPr id="4" name="Picture 6" descr="A group of people in uniform&#10;&#10;Description generated with very high confidence">
            <a:extLst>
              <a:ext uri="{FF2B5EF4-FFF2-40B4-BE49-F238E27FC236}">
                <a16:creationId xmlns:a16="http://schemas.microsoft.com/office/drawing/2014/main" id="{C838FBF8-1E70-4DD5-B69C-CB3EA07C9300}"/>
              </a:ext>
            </a:extLst>
          </p:cNvPr>
          <p:cNvPicPr>
            <a:picLocks noChangeAspect="1"/>
          </p:cNvPicPr>
          <p:nvPr/>
        </p:nvPicPr>
        <p:blipFill>
          <a:blip r:embed="rId3"/>
          <a:stretch>
            <a:fillRect/>
          </a:stretch>
        </p:blipFill>
        <p:spPr>
          <a:xfrm>
            <a:off x="5508487" y="2392481"/>
            <a:ext cx="5172764" cy="3475560"/>
          </a:xfrm>
          <a:prstGeom prst="rect">
            <a:avLst/>
          </a:prstGeom>
        </p:spPr>
      </p:pic>
      <p:pic>
        <p:nvPicPr>
          <p:cNvPr id="8" name="Graphic 7" descr="Arrow: Clockwise curve">
            <a:extLst>
              <a:ext uri="{FF2B5EF4-FFF2-40B4-BE49-F238E27FC236}">
                <a16:creationId xmlns:a16="http://schemas.microsoft.com/office/drawing/2014/main" id="{6C94FA5D-47FA-4EF9-819C-0F93B80F178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8801546">
            <a:off x="6638405" y="1262180"/>
            <a:ext cx="914400" cy="914400"/>
          </a:xfrm>
          <a:prstGeom prst="rect">
            <a:avLst/>
          </a:prstGeom>
        </p:spPr>
      </p:pic>
      <p:pic>
        <p:nvPicPr>
          <p:cNvPr id="14" name="Graphic 13" descr="Arrow: Clockwise curve">
            <a:extLst>
              <a:ext uri="{FF2B5EF4-FFF2-40B4-BE49-F238E27FC236}">
                <a16:creationId xmlns:a16="http://schemas.microsoft.com/office/drawing/2014/main" id="{765838A4-C46A-4425-BE37-5814C8085B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6338751" flipH="1">
            <a:off x="4161196" y="4723135"/>
            <a:ext cx="914400" cy="914400"/>
          </a:xfrm>
          <a:prstGeom prst="rect">
            <a:avLst/>
          </a:prstGeom>
        </p:spPr>
      </p:pic>
      <p:pic>
        <p:nvPicPr>
          <p:cNvPr id="10" name="Graphic 9" descr="Close">
            <a:extLst>
              <a:ext uri="{FF2B5EF4-FFF2-40B4-BE49-F238E27FC236}">
                <a16:creationId xmlns:a16="http://schemas.microsoft.com/office/drawing/2014/main" id="{291CED8C-7D11-44FB-BF24-E9C64B3F2D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3108" y="1295815"/>
            <a:ext cx="914400" cy="914400"/>
          </a:xfrm>
          <a:prstGeom prst="rect">
            <a:avLst/>
          </a:prstGeom>
        </p:spPr>
      </p:pic>
      <p:pic>
        <p:nvPicPr>
          <p:cNvPr id="12" name="Graphic 11" descr="Checkmark">
            <a:extLst>
              <a:ext uri="{FF2B5EF4-FFF2-40B4-BE49-F238E27FC236}">
                <a16:creationId xmlns:a16="http://schemas.microsoft.com/office/drawing/2014/main" id="{D9D63F18-4949-4BD4-9163-4CC52B16B3A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74492" y="1990129"/>
            <a:ext cx="914400" cy="914400"/>
          </a:xfrm>
          <a:prstGeom prst="rect">
            <a:avLst/>
          </a:prstGeom>
        </p:spPr>
      </p:pic>
    </p:spTree>
    <p:extLst>
      <p:ext uri="{BB962C8B-B14F-4D97-AF65-F5344CB8AC3E}">
        <p14:creationId xmlns:p14="http://schemas.microsoft.com/office/powerpoint/2010/main" val="3140807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4A08416-2C8E-9249-98A9-9948F676263D}"/>
              </a:ext>
            </a:extLst>
          </p:cNvPr>
          <p:cNvCxnSpPr/>
          <p:nvPr/>
        </p:nvCxnSpPr>
        <p:spPr>
          <a:xfrm>
            <a:off x="311350" y="6495325"/>
            <a:ext cx="11377200" cy="0"/>
          </a:xfrm>
          <a:prstGeom prst="line">
            <a:avLst/>
          </a:prstGeom>
          <a:ln>
            <a:solidFill>
              <a:srgbClr val="373334"/>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CBC3F1BC-0F89-1146-828B-B448BC85FFF9}"/>
              </a:ext>
            </a:extLst>
          </p:cNvPr>
          <p:cNvGrpSpPr/>
          <p:nvPr/>
        </p:nvGrpSpPr>
        <p:grpSpPr>
          <a:xfrm>
            <a:off x="1196606" y="1955381"/>
            <a:ext cx="5221518" cy="2752964"/>
            <a:chOff x="1184867" y="1199493"/>
            <a:chExt cx="4849094" cy="2752964"/>
          </a:xfrm>
        </p:grpSpPr>
        <p:sp>
          <p:nvSpPr>
            <p:cNvPr id="6" name="TextBox 5">
              <a:extLst>
                <a:ext uri="{FF2B5EF4-FFF2-40B4-BE49-F238E27FC236}">
                  <a16:creationId xmlns:a16="http://schemas.microsoft.com/office/drawing/2014/main" id="{4C7A1C8E-ABAD-3C4C-A3A3-61CB1A2B85B0}"/>
                </a:ext>
              </a:extLst>
            </p:cNvPr>
            <p:cNvSpPr txBox="1"/>
            <p:nvPr/>
          </p:nvSpPr>
          <p:spPr>
            <a:xfrm>
              <a:off x="1244231" y="1199493"/>
              <a:ext cx="4681565" cy="369332"/>
            </a:xfrm>
            <a:prstGeom prst="rect">
              <a:avLst/>
            </a:prstGeom>
            <a:noFill/>
          </p:spPr>
          <p:txBody>
            <a:bodyPr wrap="square" rtlCol="0">
              <a:spAutoFit/>
            </a:bodyPr>
            <a:lstStyle/>
            <a:p>
              <a:pPr algn="just"/>
              <a:r>
                <a:rPr lang="en-US">
                  <a:latin typeface="Century Gothic" panose="020B0502020202020204" pitchFamily="34" charset="0"/>
                  <a:cs typeface="Arial" panose="020B0604020202020204" pitchFamily="34" charset="0"/>
                </a:rPr>
                <a:t>Uses existing on-site CCTV cameras</a:t>
              </a:r>
            </a:p>
          </p:txBody>
        </p:sp>
        <p:sp>
          <p:nvSpPr>
            <p:cNvPr id="23" name="TextBox 22">
              <a:extLst>
                <a:ext uri="{FF2B5EF4-FFF2-40B4-BE49-F238E27FC236}">
                  <a16:creationId xmlns:a16="http://schemas.microsoft.com/office/drawing/2014/main" id="{EC8567F1-9BC5-6B42-B3AD-AAE820675CD6}"/>
                </a:ext>
              </a:extLst>
            </p:cNvPr>
            <p:cNvSpPr txBox="1"/>
            <p:nvPr/>
          </p:nvSpPr>
          <p:spPr>
            <a:xfrm>
              <a:off x="1184867" y="2412974"/>
              <a:ext cx="4849094" cy="646331"/>
            </a:xfrm>
            <a:prstGeom prst="rect">
              <a:avLst/>
            </a:prstGeom>
            <a:noFill/>
          </p:spPr>
          <p:txBody>
            <a:bodyPr wrap="square" rtlCol="0">
              <a:spAutoFit/>
            </a:bodyPr>
            <a:lstStyle/>
            <a:p>
              <a:pPr algn="just"/>
              <a:r>
                <a:rPr lang="en-US">
                  <a:latin typeface="Century Gothic" panose="020B0502020202020204" pitchFamily="34" charset="0"/>
                  <a:cs typeface="Arial" panose="020B0604020202020204" pitchFamily="34" charset="0"/>
                </a:rPr>
                <a:t>Alert will be raised when non-compliance is detected</a:t>
              </a:r>
            </a:p>
          </p:txBody>
        </p:sp>
        <p:sp>
          <p:nvSpPr>
            <p:cNvPr id="25" name="TextBox 24">
              <a:extLst>
                <a:ext uri="{FF2B5EF4-FFF2-40B4-BE49-F238E27FC236}">
                  <a16:creationId xmlns:a16="http://schemas.microsoft.com/office/drawing/2014/main" id="{7D5D3551-6733-E44F-9701-582BF660EC3C}"/>
                </a:ext>
              </a:extLst>
            </p:cNvPr>
            <p:cNvSpPr txBox="1"/>
            <p:nvPr/>
          </p:nvSpPr>
          <p:spPr>
            <a:xfrm>
              <a:off x="1290354" y="3583125"/>
              <a:ext cx="4681565" cy="369332"/>
            </a:xfrm>
            <a:prstGeom prst="rect">
              <a:avLst/>
            </a:prstGeom>
            <a:noFill/>
          </p:spPr>
          <p:txBody>
            <a:bodyPr wrap="square" rtlCol="0">
              <a:spAutoFit/>
            </a:bodyPr>
            <a:lstStyle/>
            <a:p>
              <a:pPr algn="just"/>
              <a:r>
                <a:rPr lang="en-US" dirty="0">
                  <a:latin typeface="Century Gothic" panose="020B0502020202020204" pitchFamily="34" charset="0"/>
                  <a:cs typeface="Arial" panose="020B0604020202020204" pitchFamily="34" charset="0"/>
                </a:rPr>
                <a:t>The supervisor can follow-up remotely</a:t>
              </a:r>
            </a:p>
          </p:txBody>
        </p:sp>
      </p:grpSp>
      <p:pic>
        <p:nvPicPr>
          <p:cNvPr id="26" name="Picture 25" descr="A close up of a logo&#10;&#10;Description automatically generated">
            <a:extLst>
              <a:ext uri="{FF2B5EF4-FFF2-40B4-BE49-F238E27FC236}">
                <a16:creationId xmlns:a16="http://schemas.microsoft.com/office/drawing/2014/main" id="{F748B3D4-FD2F-0742-9BF2-B6F69BE5B815}"/>
              </a:ext>
            </a:extLst>
          </p:cNvPr>
          <p:cNvPicPr>
            <a:picLocks noChangeAspect="1"/>
          </p:cNvPicPr>
          <p:nvPr/>
        </p:nvPicPr>
        <p:blipFill>
          <a:blip r:embed="rId2">
            <a:alphaModFix amt="85000"/>
            <a:extLst>
              <a:ext uri="{28A0092B-C50C-407E-A947-70E740481C1C}">
                <a14:useLocalDpi xmlns:a14="http://schemas.microsoft.com/office/drawing/2010/main" val="0"/>
              </a:ext>
            </a:extLst>
          </a:blip>
          <a:stretch>
            <a:fillRect/>
          </a:stretch>
        </p:blipFill>
        <p:spPr>
          <a:xfrm>
            <a:off x="380080" y="1797578"/>
            <a:ext cx="654092" cy="654092"/>
          </a:xfrm>
          <a:prstGeom prst="rect">
            <a:avLst/>
          </a:prstGeom>
        </p:spPr>
      </p:pic>
      <p:pic>
        <p:nvPicPr>
          <p:cNvPr id="28" name="Picture 27" descr="A close up of a logo&#10;&#10;Description automatically generated">
            <a:extLst>
              <a:ext uri="{FF2B5EF4-FFF2-40B4-BE49-F238E27FC236}">
                <a16:creationId xmlns:a16="http://schemas.microsoft.com/office/drawing/2014/main" id="{BCEC1143-95AF-A44E-AB8B-C7810F435A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787" y="2997076"/>
            <a:ext cx="704385" cy="704385"/>
          </a:xfrm>
          <a:prstGeom prst="rect">
            <a:avLst/>
          </a:prstGeom>
        </p:spPr>
      </p:pic>
      <p:pic>
        <p:nvPicPr>
          <p:cNvPr id="30" name="Picture 29" descr="A close up of a logo&#10;&#10;Description automatically generated">
            <a:extLst>
              <a:ext uri="{FF2B5EF4-FFF2-40B4-BE49-F238E27FC236}">
                <a16:creationId xmlns:a16="http://schemas.microsoft.com/office/drawing/2014/main" id="{CAFEDEC4-EBD0-8C42-8B48-44E3134E89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7001" y="4149307"/>
            <a:ext cx="740250" cy="740250"/>
          </a:xfrm>
          <a:prstGeom prst="rect">
            <a:avLst/>
          </a:prstGeom>
        </p:spPr>
      </p:pic>
      <p:sp>
        <p:nvSpPr>
          <p:cNvPr id="31" name="TextBox 30">
            <a:extLst>
              <a:ext uri="{FF2B5EF4-FFF2-40B4-BE49-F238E27FC236}">
                <a16:creationId xmlns:a16="http://schemas.microsoft.com/office/drawing/2014/main" id="{3C7954C9-3EB2-D440-86B6-9183B4AA34ED}"/>
              </a:ext>
            </a:extLst>
          </p:cNvPr>
          <p:cNvSpPr txBox="1"/>
          <p:nvPr/>
        </p:nvSpPr>
        <p:spPr>
          <a:xfrm>
            <a:off x="6599677" y="5014271"/>
            <a:ext cx="5317351" cy="461665"/>
          </a:xfrm>
          <a:prstGeom prst="rect">
            <a:avLst/>
          </a:prstGeom>
          <a:noFill/>
        </p:spPr>
        <p:txBody>
          <a:bodyPr wrap="square" rtlCol="0" anchor="t">
            <a:spAutoFit/>
          </a:bodyPr>
          <a:lstStyle/>
          <a:p>
            <a:pPr marL="285750" indent="-285750">
              <a:buFont typeface="System Font Regular"/>
              <a:buChar char="*"/>
            </a:pPr>
            <a:r>
              <a:rPr lang="en-US" sz="1200" dirty="0">
                <a:latin typeface="Century Gothic"/>
                <a:cs typeface="Arial"/>
              </a:rPr>
              <a:t>Model accounts for people wearing hats or caps, people with peculiar hairstyles, low ambience environments for close-pit sites</a:t>
            </a:r>
            <a:endParaRPr lang="ru-RU" sz="1200" dirty="0">
              <a:latin typeface="Century Gothic"/>
              <a:cs typeface="Arial"/>
            </a:endParaRPr>
          </a:p>
        </p:txBody>
      </p:sp>
      <p:pic>
        <p:nvPicPr>
          <p:cNvPr id="33" name="Picture 32">
            <a:extLst>
              <a:ext uri="{FF2B5EF4-FFF2-40B4-BE49-F238E27FC236}">
                <a16:creationId xmlns:a16="http://schemas.microsoft.com/office/drawing/2014/main" id="{6EB224F6-3666-4F4F-874F-61A079326F21}"/>
              </a:ext>
            </a:extLst>
          </p:cNvPr>
          <p:cNvPicPr>
            <a:picLocks noChangeAspect="1"/>
          </p:cNvPicPr>
          <p:nvPr/>
        </p:nvPicPr>
        <p:blipFill>
          <a:blip r:embed="rId5">
            <a:alphaModFix amt="85000"/>
          </a:blip>
          <a:stretch>
            <a:fillRect/>
          </a:stretch>
        </p:blipFill>
        <p:spPr>
          <a:xfrm>
            <a:off x="6599677" y="1797578"/>
            <a:ext cx="5305646" cy="3056757"/>
          </a:xfrm>
          <a:prstGeom prst="rect">
            <a:avLst/>
          </a:prstGeom>
        </p:spPr>
      </p:pic>
      <p:sp>
        <p:nvSpPr>
          <p:cNvPr id="3" name="Slide Number Placeholder 2">
            <a:extLst>
              <a:ext uri="{FF2B5EF4-FFF2-40B4-BE49-F238E27FC236}">
                <a16:creationId xmlns:a16="http://schemas.microsoft.com/office/drawing/2014/main" id="{951FFEE7-29DB-4361-BB54-B0CC07EC08B4}"/>
              </a:ext>
            </a:extLst>
          </p:cNvPr>
          <p:cNvSpPr>
            <a:spLocks noGrp="1"/>
          </p:cNvSpPr>
          <p:nvPr>
            <p:ph type="sldNum" sz="quarter" idx="33"/>
          </p:nvPr>
        </p:nvSpPr>
        <p:spPr/>
        <p:txBody>
          <a:bodyPr/>
          <a:lstStyle/>
          <a:p>
            <a:fld id="{330EA680-D336-4FF7-8B7A-9848BB0A1C32}" type="slidenum">
              <a:rPr lang="en-US" smtClean="0"/>
              <a:t>6</a:t>
            </a:fld>
            <a:endParaRPr lang="en-US"/>
          </a:p>
        </p:txBody>
      </p:sp>
      <p:sp>
        <p:nvSpPr>
          <p:cNvPr id="27" name="TextBox 26">
            <a:extLst>
              <a:ext uri="{FF2B5EF4-FFF2-40B4-BE49-F238E27FC236}">
                <a16:creationId xmlns:a16="http://schemas.microsoft.com/office/drawing/2014/main" id="{36BCDE0A-0B33-4A02-BFD1-55B71F6B6CE6}"/>
              </a:ext>
            </a:extLst>
          </p:cNvPr>
          <p:cNvSpPr txBox="1"/>
          <p:nvPr/>
        </p:nvSpPr>
        <p:spPr>
          <a:xfrm>
            <a:off x="441630" y="406656"/>
            <a:ext cx="11531853" cy="584775"/>
          </a:xfrm>
          <a:prstGeom prst="rect">
            <a:avLst/>
          </a:prstGeom>
          <a:noFill/>
        </p:spPr>
        <p:txBody>
          <a:bodyPr wrap="square" rtlCol="0" anchor="t">
            <a:spAutoFit/>
          </a:bodyPr>
          <a:lstStyle/>
          <a:p>
            <a:r>
              <a:rPr lang="en-US" sz="3200" b="1" dirty="0">
                <a:solidFill>
                  <a:srgbClr val="373334"/>
                </a:solidFill>
                <a:latin typeface="Century Gothic" panose="020B0502020202020204" pitchFamily="34" charset="0"/>
                <a:cs typeface="Arial"/>
              </a:rPr>
              <a:t>The </a:t>
            </a:r>
            <a:r>
              <a:rPr lang="en-US" sz="3200" b="1" dirty="0">
                <a:solidFill>
                  <a:srgbClr val="FF0000"/>
                </a:solidFill>
                <a:latin typeface="Century Gothic" panose="020B0502020202020204" pitchFamily="34" charset="0"/>
                <a:cs typeface="Arial"/>
              </a:rPr>
              <a:t>Safe</a:t>
            </a:r>
            <a:r>
              <a:rPr lang="en-US" sz="3200" b="1" dirty="0">
                <a:solidFill>
                  <a:srgbClr val="373334"/>
                </a:solidFill>
                <a:latin typeface="Century Gothic" panose="020B0502020202020204" pitchFamily="34" charset="0"/>
                <a:cs typeface="Arial"/>
              </a:rPr>
              <a:t>guard</a:t>
            </a:r>
            <a:endParaRPr lang="en-US" sz="3200" dirty="0">
              <a:latin typeface="Century Gothic" panose="020B0502020202020204" pitchFamily="34" charset="0"/>
            </a:endParaRPr>
          </a:p>
        </p:txBody>
      </p:sp>
    </p:spTree>
    <p:extLst>
      <p:ext uri="{BB962C8B-B14F-4D97-AF65-F5344CB8AC3E}">
        <p14:creationId xmlns:p14="http://schemas.microsoft.com/office/powerpoint/2010/main" val="1110250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CA1AE3F-710F-4A48-B30C-A0EBB7F24920}"/>
              </a:ext>
            </a:extLst>
          </p:cNvPr>
          <p:cNvCxnSpPr/>
          <p:nvPr/>
        </p:nvCxnSpPr>
        <p:spPr>
          <a:xfrm>
            <a:off x="311350" y="6495325"/>
            <a:ext cx="11364392" cy="38420"/>
          </a:xfrm>
          <a:prstGeom prst="line">
            <a:avLst/>
          </a:prstGeom>
          <a:ln>
            <a:solidFill>
              <a:srgbClr val="373334"/>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5806D946-4987-4585-97B2-7AD3B54D6588}"/>
              </a:ext>
            </a:extLst>
          </p:cNvPr>
          <p:cNvSpPr>
            <a:spLocks noGrp="1"/>
          </p:cNvSpPr>
          <p:nvPr>
            <p:ph type="sldNum" sz="quarter" idx="13"/>
          </p:nvPr>
        </p:nvSpPr>
        <p:spPr/>
        <p:txBody>
          <a:bodyPr/>
          <a:lstStyle/>
          <a:p>
            <a:fld id="{330EA680-D336-4FF7-8B7A-9848BB0A1C32}" type="slidenum">
              <a:rPr lang="en-US" smtClean="0"/>
              <a:t>7</a:t>
            </a:fld>
            <a:endParaRPr lang="en-US"/>
          </a:p>
        </p:txBody>
      </p:sp>
      <p:sp>
        <p:nvSpPr>
          <p:cNvPr id="11" name="TextBox 10">
            <a:extLst>
              <a:ext uri="{FF2B5EF4-FFF2-40B4-BE49-F238E27FC236}">
                <a16:creationId xmlns:a16="http://schemas.microsoft.com/office/drawing/2014/main" id="{2D169F72-46E2-4D12-83DC-4CED653ECCE0}"/>
              </a:ext>
            </a:extLst>
          </p:cNvPr>
          <p:cNvSpPr txBox="1"/>
          <p:nvPr/>
        </p:nvSpPr>
        <p:spPr>
          <a:xfrm>
            <a:off x="448887" y="406656"/>
            <a:ext cx="11531853" cy="584775"/>
          </a:xfrm>
          <a:prstGeom prst="rect">
            <a:avLst/>
          </a:prstGeom>
          <a:noFill/>
        </p:spPr>
        <p:txBody>
          <a:bodyPr wrap="square" rtlCol="0" anchor="t">
            <a:spAutoFit/>
          </a:bodyPr>
          <a:lstStyle/>
          <a:p>
            <a:r>
              <a:rPr lang="en-US" sz="3200" b="1" dirty="0">
                <a:solidFill>
                  <a:schemeClr val="tx2"/>
                </a:solidFill>
                <a:latin typeface="Century Gothic" panose="020B0502020202020204" pitchFamily="34" charset="0"/>
                <a:cs typeface="Arial"/>
              </a:rPr>
              <a:t>The Money </a:t>
            </a:r>
            <a:r>
              <a:rPr lang="en-US" sz="3200" b="1" dirty="0">
                <a:solidFill>
                  <a:srgbClr val="FF0000"/>
                </a:solidFill>
                <a:latin typeface="Century Gothic" panose="020B0502020202020204" pitchFamily="34" charset="0"/>
                <a:cs typeface="Arial"/>
              </a:rPr>
              <a:t>Safe</a:t>
            </a:r>
            <a:endParaRPr lang="ru-RU" sz="3200" b="1" dirty="0">
              <a:solidFill>
                <a:schemeClr val="tx2"/>
              </a:solidFill>
              <a:latin typeface="Century Gothic" panose="020B0502020202020204" pitchFamily="34" charset="0"/>
              <a:cs typeface="Arial" panose="020B0604020202020204" pitchFamily="34" charset="0"/>
            </a:endParaRPr>
          </a:p>
        </p:txBody>
      </p:sp>
      <p:pic>
        <p:nvPicPr>
          <p:cNvPr id="3" name="Graphic 2" descr="Processor">
            <a:extLst>
              <a:ext uri="{FF2B5EF4-FFF2-40B4-BE49-F238E27FC236}">
                <a16:creationId xmlns:a16="http://schemas.microsoft.com/office/drawing/2014/main" id="{5BF054EF-AA4F-4D7B-801D-4A0AA75560F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41621" y="3532531"/>
            <a:ext cx="914400" cy="914400"/>
          </a:xfrm>
          <a:prstGeom prst="rect">
            <a:avLst/>
          </a:prstGeom>
        </p:spPr>
      </p:pic>
      <p:pic>
        <p:nvPicPr>
          <p:cNvPr id="7" name="Graphic 6" descr="Bank">
            <a:extLst>
              <a:ext uri="{FF2B5EF4-FFF2-40B4-BE49-F238E27FC236}">
                <a16:creationId xmlns:a16="http://schemas.microsoft.com/office/drawing/2014/main" id="{A5F9225E-5B88-4F3E-8840-732309FE7C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46639" y="1643908"/>
            <a:ext cx="914400" cy="914400"/>
          </a:xfrm>
          <a:prstGeom prst="rect">
            <a:avLst/>
          </a:prstGeom>
        </p:spPr>
      </p:pic>
      <p:pic>
        <p:nvPicPr>
          <p:cNvPr id="39" name="Graphic 6" descr="Security camera">
            <a:extLst>
              <a:ext uri="{FF2B5EF4-FFF2-40B4-BE49-F238E27FC236}">
                <a16:creationId xmlns:a16="http://schemas.microsoft.com/office/drawing/2014/main" id="{E63409D5-3789-4C46-8262-54CB787E70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2495" y="3532533"/>
            <a:ext cx="914398" cy="914398"/>
          </a:xfrm>
          <a:prstGeom prst="rect">
            <a:avLst/>
          </a:prstGeom>
        </p:spPr>
      </p:pic>
      <p:cxnSp>
        <p:nvCxnSpPr>
          <p:cNvPr id="9" name="Straight Arrow Connector 8">
            <a:extLst>
              <a:ext uri="{FF2B5EF4-FFF2-40B4-BE49-F238E27FC236}">
                <a16:creationId xmlns:a16="http://schemas.microsoft.com/office/drawing/2014/main" id="{73CCD842-FF91-4A2A-B0CE-EEED3F36AF0D}"/>
              </a:ext>
            </a:extLst>
          </p:cNvPr>
          <p:cNvCxnSpPr>
            <a:stCxn id="39" idx="3"/>
            <a:endCxn id="3" idx="1"/>
          </p:cNvCxnSpPr>
          <p:nvPr/>
        </p:nvCxnSpPr>
        <p:spPr>
          <a:xfrm flipV="1">
            <a:off x="1906893" y="3989731"/>
            <a:ext cx="934728" cy="1"/>
          </a:xfrm>
          <a:prstGeom prst="straightConnector1">
            <a:avLst/>
          </a:prstGeom>
          <a:ln w="6032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6" name="Graphic 15" descr="City">
            <a:extLst>
              <a:ext uri="{FF2B5EF4-FFF2-40B4-BE49-F238E27FC236}">
                <a16:creationId xmlns:a16="http://schemas.microsoft.com/office/drawing/2014/main" id="{95955C6A-6732-4345-853C-B139B6489C2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46639" y="3532531"/>
            <a:ext cx="914400" cy="914400"/>
          </a:xfrm>
          <a:prstGeom prst="rect">
            <a:avLst/>
          </a:prstGeom>
        </p:spPr>
      </p:pic>
      <p:pic>
        <p:nvPicPr>
          <p:cNvPr id="18" name="Graphic 17" descr="Head with gears">
            <a:extLst>
              <a:ext uri="{FF2B5EF4-FFF2-40B4-BE49-F238E27FC236}">
                <a16:creationId xmlns:a16="http://schemas.microsoft.com/office/drawing/2014/main" id="{1B771EF9-7086-4DB6-B539-5ABEE3158B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14584" y="3532531"/>
            <a:ext cx="914400" cy="914400"/>
          </a:xfrm>
          <a:prstGeom prst="rect">
            <a:avLst/>
          </a:prstGeom>
        </p:spPr>
      </p:pic>
      <p:cxnSp>
        <p:nvCxnSpPr>
          <p:cNvPr id="68" name="Straight Arrow Connector 67">
            <a:extLst>
              <a:ext uri="{FF2B5EF4-FFF2-40B4-BE49-F238E27FC236}">
                <a16:creationId xmlns:a16="http://schemas.microsoft.com/office/drawing/2014/main" id="{4C3CC574-418D-44D2-AEBF-39C54B9027A1}"/>
              </a:ext>
            </a:extLst>
          </p:cNvPr>
          <p:cNvCxnSpPr/>
          <p:nvPr/>
        </p:nvCxnSpPr>
        <p:spPr>
          <a:xfrm flipV="1">
            <a:off x="3756021" y="3973378"/>
            <a:ext cx="934728" cy="1"/>
          </a:xfrm>
          <a:prstGeom prst="straightConnector1">
            <a:avLst/>
          </a:prstGeom>
          <a:ln w="6032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179CD78-2BEF-437E-8110-34CF07AA5F3E}"/>
              </a:ext>
            </a:extLst>
          </p:cNvPr>
          <p:cNvCxnSpPr>
            <a:cxnSpLocks/>
            <a:stCxn id="16" idx="0"/>
            <a:endCxn id="7" idx="2"/>
          </p:cNvCxnSpPr>
          <p:nvPr/>
        </p:nvCxnSpPr>
        <p:spPr>
          <a:xfrm flipV="1">
            <a:off x="5203839" y="2558308"/>
            <a:ext cx="0" cy="974223"/>
          </a:xfrm>
          <a:prstGeom prst="straightConnector1">
            <a:avLst/>
          </a:prstGeom>
          <a:ln w="60325">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EC635069-AB1C-442C-AE64-76786CA2B098}"/>
              </a:ext>
            </a:extLst>
          </p:cNvPr>
          <p:cNvCxnSpPr>
            <a:stCxn id="16" idx="3"/>
          </p:cNvCxnSpPr>
          <p:nvPr/>
        </p:nvCxnSpPr>
        <p:spPr>
          <a:xfrm flipV="1">
            <a:off x="5661039" y="3644952"/>
            <a:ext cx="2453545" cy="344779"/>
          </a:xfrm>
          <a:prstGeom prst="bentConnector3">
            <a:avLst/>
          </a:prstGeom>
          <a:ln w="60325">
            <a:solidFill>
              <a:srgbClr val="00FF0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31063A17-6313-4248-A713-1D395A95CC1F}"/>
              </a:ext>
            </a:extLst>
          </p:cNvPr>
          <p:cNvCxnSpPr>
            <a:cxnSpLocks/>
            <a:stCxn id="16" idx="3"/>
          </p:cNvCxnSpPr>
          <p:nvPr/>
        </p:nvCxnSpPr>
        <p:spPr>
          <a:xfrm>
            <a:off x="5661039" y="3989731"/>
            <a:ext cx="2453545" cy="370838"/>
          </a:xfrm>
          <a:prstGeom prst="bentConnector3">
            <a:avLst/>
          </a:prstGeom>
          <a:ln w="60325">
            <a:solidFill>
              <a:srgbClr val="00FF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6B58E29F-638E-4B2D-9EDD-853CDA5EDB5A}"/>
              </a:ext>
            </a:extLst>
          </p:cNvPr>
          <p:cNvCxnSpPr>
            <a:stCxn id="7" idx="3"/>
            <a:endCxn id="18" idx="0"/>
          </p:cNvCxnSpPr>
          <p:nvPr/>
        </p:nvCxnSpPr>
        <p:spPr>
          <a:xfrm>
            <a:off x="5661039" y="2101108"/>
            <a:ext cx="2910745" cy="1431423"/>
          </a:xfrm>
          <a:prstGeom prst="bentConnector2">
            <a:avLst/>
          </a:prstGeom>
          <a:ln w="60325">
            <a:solidFill>
              <a:srgbClr val="00FF00"/>
            </a:solidFill>
            <a:tailEnd type="triangle"/>
          </a:ln>
        </p:spPr>
        <p:style>
          <a:lnRef idx="1">
            <a:schemeClr val="accent1"/>
          </a:lnRef>
          <a:fillRef idx="0">
            <a:schemeClr val="accent1"/>
          </a:fillRef>
          <a:effectRef idx="0">
            <a:schemeClr val="accent1"/>
          </a:effectRef>
          <a:fontRef idx="minor">
            <a:schemeClr val="tx1"/>
          </a:fontRef>
        </p:style>
      </p:cxnSp>
      <p:pic>
        <p:nvPicPr>
          <p:cNvPr id="29" name="Graphic 28" descr="Money">
            <a:extLst>
              <a:ext uri="{FF2B5EF4-FFF2-40B4-BE49-F238E27FC236}">
                <a16:creationId xmlns:a16="http://schemas.microsoft.com/office/drawing/2014/main" id="{AFA60BA0-02A0-4CB7-A090-48D2B44B12B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52967" y="1312474"/>
            <a:ext cx="710884" cy="710884"/>
          </a:xfrm>
          <a:prstGeom prst="rect">
            <a:avLst/>
          </a:prstGeom>
        </p:spPr>
      </p:pic>
      <p:pic>
        <p:nvPicPr>
          <p:cNvPr id="76" name="Graphic 75" descr="Money">
            <a:extLst>
              <a:ext uri="{FF2B5EF4-FFF2-40B4-BE49-F238E27FC236}">
                <a16:creationId xmlns:a16="http://schemas.microsoft.com/office/drawing/2014/main" id="{BA4BC411-8E75-4C00-86F2-085AEBC4271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52967" y="2838708"/>
            <a:ext cx="710884" cy="710884"/>
          </a:xfrm>
          <a:prstGeom prst="rect">
            <a:avLst/>
          </a:prstGeom>
        </p:spPr>
      </p:pic>
      <p:pic>
        <p:nvPicPr>
          <p:cNvPr id="77" name="Graphic 76" descr="Money">
            <a:extLst>
              <a:ext uri="{FF2B5EF4-FFF2-40B4-BE49-F238E27FC236}">
                <a16:creationId xmlns:a16="http://schemas.microsoft.com/office/drawing/2014/main" id="{C81DF9D5-1280-40D2-9A1F-57F05F4DDC6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16411" y="4446931"/>
            <a:ext cx="710884" cy="710884"/>
          </a:xfrm>
          <a:prstGeom prst="rect">
            <a:avLst/>
          </a:prstGeom>
        </p:spPr>
      </p:pic>
      <p:sp>
        <p:nvSpPr>
          <p:cNvPr id="30" name="TextBox 29">
            <a:extLst>
              <a:ext uri="{FF2B5EF4-FFF2-40B4-BE49-F238E27FC236}">
                <a16:creationId xmlns:a16="http://schemas.microsoft.com/office/drawing/2014/main" id="{10C65700-41BE-4F6B-B4DA-484CC1C70465}"/>
              </a:ext>
            </a:extLst>
          </p:cNvPr>
          <p:cNvSpPr txBox="1"/>
          <p:nvPr/>
        </p:nvSpPr>
        <p:spPr>
          <a:xfrm>
            <a:off x="579287" y="4475002"/>
            <a:ext cx="1544825" cy="646331"/>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On-Site Cameras</a:t>
            </a:r>
            <a:endParaRPr lang="en-GB" dirty="0">
              <a:solidFill>
                <a:schemeClr val="tx1">
                  <a:lumMod val="75000"/>
                  <a:lumOff val="25000"/>
                </a:schemeClr>
              </a:solidFill>
              <a:latin typeface="Century Gothic" panose="020B0502020202020204" pitchFamily="34" charset="0"/>
            </a:endParaRPr>
          </a:p>
        </p:txBody>
      </p:sp>
      <p:sp>
        <p:nvSpPr>
          <p:cNvPr id="78" name="TextBox 77">
            <a:extLst>
              <a:ext uri="{FF2B5EF4-FFF2-40B4-BE49-F238E27FC236}">
                <a16:creationId xmlns:a16="http://schemas.microsoft.com/office/drawing/2014/main" id="{E221BDC5-50C4-4F6C-B0CC-3EC8C9CEC13C}"/>
              </a:ext>
            </a:extLst>
          </p:cNvPr>
          <p:cNvSpPr txBox="1"/>
          <p:nvPr/>
        </p:nvSpPr>
        <p:spPr>
          <a:xfrm>
            <a:off x="2526408" y="4483178"/>
            <a:ext cx="1544825" cy="646331"/>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Processing Center</a:t>
            </a:r>
            <a:endParaRPr lang="en-GB" dirty="0">
              <a:solidFill>
                <a:schemeClr val="tx1">
                  <a:lumMod val="75000"/>
                  <a:lumOff val="25000"/>
                </a:schemeClr>
              </a:solidFill>
              <a:latin typeface="Century Gothic" panose="020B0502020202020204" pitchFamily="34" charset="0"/>
            </a:endParaRPr>
          </a:p>
        </p:txBody>
      </p:sp>
      <p:sp>
        <p:nvSpPr>
          <p:cNvPr id="79" name="TextBox 78">
            <a:extLst>
              <a:ext uri="{FF2B5EF4-FFF2-40B4-BE49-F238E27FC236}">
                <a16:creationId xmlns:a16="http://schemas.microsoft.com/office/drawing/2014/main" id="{A8968AEB-DE8E-40E4-BEAB-03A2523BB4CF}"/>
              </a:ext>
            </a:extLst>
          </p:cNvPr>
          <p:cNvSpPr txBox="1"/>
          <p:nvPr/>
        </p:nvSpPr>
        <p:spPr>
          <a:xfrm>
            <a:off x="4473529" y="4486627"/>
            <a:ext cx="1544825" cy="646331"/>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Company Offices</a:t>
            </a:r>
            <a:endParaRPr lang="en-GB" dirty="0">
              <a:solidFill>
                <a:schemeClr val="tx1">
                  <a:lumMod val="75000"/>
                  <a:lumOff val="25000"/>
                </a:schemeClr>
              </a:solidFill>
              <a:latin typeface="Century Gothic" panose="020B0502020202020204" pitchFamily="34" charset="0"/>
            </a:endParaRPr>
          </a:p>
        </p:txBody>
      </p:sp>
      <p:sp>
        <p:nvSpPr>
          <p:cNvPr id="80" name="TextBox 79">
            <a:extLst>
              <a:ext uri="{FF2B5EF4-FFF2-40B4-BE49-F238E27FC236}">
                <a16:creationId xmlns:a16="http://schemas.microsoft.com/office/drawing/2014/main" id="{FC7F806A-8C18-4809-8CF4-79AEE5CA912C}"/>
              </a:ext>
            </a:extLst>
          </p:cNvPr>
          <p:cNvSpPr txBox="1"/>
          <p:nvPr/>
        </p:nvSpPr>
        <p:spPr>
          <a:xfrm>
            <a:off x="3201814" y="1855927"/>
            <a:ext cx="1544825" cy="646331"/>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Governing Bodies</a:t>
            </a:r>
            <a:endParaRPr lang="en-GB" dirty="0">
              <a:solidFill>
                <a:schemeClr val="tx1">
                  <a:lumMod val="75000"/>
                  <a:lumOff val="25000"/>
                </a:schemeClr>
              </a:solidFill>
              <a:latin typeface="Century Gothic" panose="020B0502020202020204" pitchFamily="34" charset="0"/>
            </a:endParaRPr>
          </a:p>
        </p:txBody>
      </p:sp>
      <p:sp>
        <p:nvSpPr>
          <p:cNvPr id="81" name="TextBox 80">
            <a:extLst>
              <a:ext uri="{FF2B5EF4-FFF2-40B4-BE49-F238E27FC236}">
                <a16:creationId xmlns:a16="http://schemas.microsoft.com/office/drawing/2014/main" id="{27F15ED2-150E-4825-9B3A-452F46645FDD}"/>
              </a:ext>
            </a:extLst>
          </p:cNvPr>
          <p:cNvSpPr txBox="1"/>
          <p:nvPr/>
        </p:nvSpPr>
        <p:spPr>
          <a:xfrm>
            <a:off x="7799371" y="4506487"/>
            <a:ext cx="1544825" cy="369332"/>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GC </a:t>
            </a:r>
            <a:endParaRPr lang="en-GB" dirty="0">
              <a:solidFill>
                <a:schemeClr val="tx1">
                  <a:lumMod val="75000"/>
                  <a:lumOff val="25000"/>
                </a:schemeClr>
              </a:solidFill>
              <a:latin typeface="Century Gothic" panose="020B0502020202020204" pitchFamily="34" charset="0"/>
            </a:endParaRPr>
          </a:p>
        </p:txBody>
      </p:sp>
      <p:sp>
        <p:nvSpPr>
          <p:cNvPr id="82" name="TextBox 81">
            <a:extLst>
              <a:ext uri="{FF2B5EF4-FFF2-40B4-BE49-F238E27FC236}">
                <a16:creationId xmlns:a16="http://schemas.microsoft.com/office/drawing/2014/main" id="{61FD5F04-1A34-43E9-AEF3-4E200FA0FFBD}"/>
              </a:ext>
            </a:extLst>
          </p:cNvPr>
          <p:cNvSpPr txBox="1"/>
          <p:nvPr/>
        </p:nvSpPr>
        <p:spPr>
          <a:xfrm>
            <a:off x="6448343" y="2307690"/>
            <a:ext cx="1920127" cy="646331"/>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One-Time Licencing Fee</a:t>
            </a:r>
            <a:endParaRPr lang="en-GB" dirty="0">
              <a:solidFill>
                <a:schemeClr val="tx1">
                  <a:lumMod val="75000"/>
                  <a:lumOff val="25000"/>
                </a:schemeClr>
              </a:solidFill>
              <a:latin typeface="Century Gothic" panose="020B0502020202020204" pitchFamily="34" charset="0"/>
            </a:endParaRPr>
          </a:p>
        </p:txBody>
      </p:sp>
      <p:sp>
        <p:nvSpPr>
          <p:cNvPr id="83" name="TextBox 82">
            <a:extLst>
              <a:ext uri="{FF2B5EF4-FFF2-40B4-BE49-F238E27FC236}">
                <a16:creationId xmlns:a16="http://schemas.microsoft.com/office/drawing/2014/main" id="{242A5AC3-9FA9-4721-81F3-35F0AAAD96BB}"/>
              </a:ext>
            </a:extLst>
          </p:cNvPr>
          <p:cNvSpPr txBox="1"/>
          <p:nvPr/>
        </p:nvSpPr>
        <p:spPr>
          <a:xfrm>
            <a:off x="6448344" y="5098495"/>
            <a:ext cx="1920127" cy="646331"/>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Subscription Fee</a:t>
            </a:r>
            <a:endParaRPr lang="en-GB" dirty="0">
              <a:solidFill>
                <a:schemeClr val="tx1">
                  <a:lumMod val="75000"/>
                  <a:lumOff val="25000"/>
                </a:schemeClr>
              </a:solidFill>
              <a:latin typeface="Century Gothic" panose="020B0502020202020204" pitchFamily="34" charset="0"/>
            </a:endParaRPr>
          </a:p>
        </p:txBody>
      </p:sp>
      <p:sp>
        <p:nvSpPr>
          <p:cNvPr id="84" name="TextBox 83">
            <a:extLst>
              <a:ext uri="{FF2B5EF4-FFF2-40B4-BE49-F238E27FC236}">
                <a16:creationId xmlns:a16="http://schemas.microsoft.com/office/drawing/2014/main" id="{9103DAEA-ECC8-4360-BB8C-F275ADAB62F6}"/>
              </a:ext>
            </a:extLst>
          </p:cNvPr>
          <p:cNvSpPr txBox="1"/>
          <p:nvPr/>
        </p:nvSpPr>
        <p:spPr>
          <a:xfrm>
            <a:off x="6448342" y="764216"/>
            <a:ext cx="1920127" cy="646331"/>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Subscription Fee</a:t>
            </a:r>
            <a:endParaRPr lang="en-GB" dirty="0">
              <a:solidFill>
                <a:schemeClr val="tx1">
                  <a:lumMod val="75000"/>
                  <a:lumOff val="25000"/>
                </a:schemeClr>
              </a:solidFill>
              <a:latin typeface="Century Gothic" panose="020B0502020202020204" pitchFamily="34" charset="0"/>
            </a:endParaRPr>
          </a:p>
        </p:txBody>
      </p:sp>
      <p:pic>
        <p:nvPicPr>
          <p:cNvPr id="34" name="Graphic 33" descr="Server">
            <a:extLst>
              <a:ext uri="{FF2B5EF4-FFF2-40B4-BE49-F238E27FC236}">
                <a16:creationId xmlns:a16="http://schemas.microsoft.com/office/drawing/2014/main" id="{4B65ECF5-A0B5-41A0-80BB-67BB47F43FC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450405" y="1675022"/>
            <a:ext cx="914400" cy="914400"/>
          </a:xfrm>
          <a:prstGeom prst="rect">
            <a:avLst/>
          </a:prstGeom>
        </p:spPr>
      </p:pic>
      <p:pic>
        <p:nvPicPr>
          <p:cNvPr id="36" name="Graphic 35" descr="Processor">
            <a:extLst>
              <a:ext uri="{FF2B5EF4-FFF2-40B4-BE49-F238E27FC236}">
                <a16:creationId xmlns:a16="http://schemas.microsoft.com/office/drawing/2014/main" id="{A64AA408-8415-4585-A4D4-4D8106DE35F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450405" y="3532531"/>
            <a:ext cx="914400" cy="914400"/>
          </a:xfrm>
          <a:prstGeom prst="rect">
            <a:avLst/>
          </a:prstGeom>
        </p:spPr>
      </p:pic>
      <p:pic>
        <p:nvPicPr>
          <p:cNvPr id="38" name="Graphic 37" descr="Meeting">
            <a:extLst>
              <a:ext uri="{FF2B5EF4-FFF2-40B4-BE49-F238E27FC236}">
                <a16:creationId xmlns:a16="http://schemas.microsoft.com/office/drawing/2014/main" id="{7D2DD76F-EC61-42DB-8905-78CD39E877D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450405" y="5219613"/>
            <a:ext cx="914400" cy="914400"/>
          </a:xfrm>
          <a:prstGeom prst="rect">
            <a:avLst/>
          </a:prstGeom>
        </p:spPr>
      </p:pic>
      <p:cxnSp>
        <p:nvCxnSpPr>
          <p:cNvPr id="85" name="Connector: Elbow 84">
            <a:extLst>
              <a:ext uri="{FF2B5EF4-FFF2-40B4-BE49-F238E27FC236}">
                <a16:creationId xmlns:a16="http://schemas.microsoft.com/office/drawing/2014/main" id="{CD7275BC-6028-433F-B8E0-3E106AE4F87E}"/>
              </a:ext>
            </a:extLst>
          </p:cNvPr>
          <p:cNvCxnSpPr>
            <a:cxnSpLocks/>
            <a:stCxn id="18" idx="3"/>
            <a:endCxn id="34" idx="1"/>
          </p:cNvCxnSpPr>
          <p:nvPr/>
        </p:nvCxnSpPr>
        <p:spPr>
          <a:xfrm flipV="1">
            <a:off x="9028984" y="2132222"/>
            <a:ext cx="1421421" cy="1857509"/>
          </a:xfrm>
          <a:prstGeom prst="bentConnector3">
            <a:avLst/>
          </a:prstGeom>
          <a:ln w="603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C2C64181-506D-45B9-9FB5-5D15171CC7DD}"/>
              </a:ext>
            </a:extLst>
          </p:cNvPr>
          <p:cNvCxnSpPr>
            <a:cxnSpLocks/>
            <a:stCxn id="18" idx="3"/>
            <a:endCxn id="38" idx="1"/>
          </p:cNvCxnSpPr>
          <p:nvPr/>
        </p:nvCxnSpPr>
        <p:spPr>
          <a:xfrm>
            <a:off x="9028984" y="3989731"/>
            <a:ext cx="1421421" cy="1687082"/>
          </a:xfrm>
          <a:prstGeom prst="bentConnector3">
            <a:avLst/>
          </a:prstGeom>
          <a:ln w="603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17FE2DC3-1663-469B-A4FC-5677CE296EE0}"/>
              </a:ext>
            </a:extLst>
          </p:cNvPr>
          <p:cNvCxnSpPr>
            <a:cxnSpLocks/>
            <a:stCxn id="18" idx="3"/>
            <a:endCxn id="36" idx="1"/>
          </p:cNvCxnSpPr>
          <p:nvPr/>
        </p:nvCxnSpPr>
        <p:spPr>
          <a:xfrm>
            <a:off x="9028984" y="3989731"/>
            <a:ext cx="1421421" cy="0"/>
          </a:xfrm>
          <a:prstGeom prst="straightConnector1">
            <a:avLst/>
          </a:prstGeom>
          <a:ln w="603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952E1E40-D934-4B47-A235-976C102BCFCB}"/>
              </a:ext>
            </a:extLst>
          </p:cNvPr>
          <p:cNvSpPr txBox="1"/>
          <p:nvPr/>
        </p:nvSpPr>
        <p:spPr>
          <a:xfrm>
            <a:off x="9960092" y="1202975"/>
            <a:ext cx="1920127" cy="369332"/>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Hosting Costs</a:t>
            </a:r>
            <a:endParaRPr lang="en-GB" dirty="0">
              <a:solidFill>
                <a:schemeClr val="tx1">
                  <a:lumMod val="75000"/>
                  <a:lumOff val="25000"/>
                </a:schemeClr>
              </a:solidFill>
              <a:latin typeface="Century Gothic" panose="020B0502020202020204" pitchFamily="34" charset="0"/>
            </a:endParaRPr>
          </a:p>
        </p:txBody>
      </p:sp>
      <p:sp>
        <p:nvSpPr>
          <p:cNvPr id="93" name="TextBox 92">
            <a:extLst>
              <a:ext uri="{FF2B5EF4-FFF2-40B4-BE49-F238E27FC236}">
                <a16:creationId xmlns:a16="http://schemas.microsoft.com/office/drawing/2014/main" id="{99F42935-C2C1-4F7D-8591-3F7E9965EA52}"/>
              </a:ext>
            </a:extLst>
          </p:cNvPr>
          <p:cNvSpPr txBox="1"/>
          <p:nvPr/>
        </p:nvSpPr>
        <p:spPr>
          <a:xfrm>
            <a:off x="9960092" y="4847509"/>
            <a:ext cx="1920127" cy="646331"/>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Team and OH Costs</a:t>
            </a:r>
            <a:endParaRPr lang="en-GB" dirty="0">
              <a:solidFill>
                <a:schemeClr val="tx1">
                  <a:lumMod val="75000"/>
                  <a:lumOff val="25000"/>
                </a:schemeClr>
              </a:solidFill>
              <a:latin typeface="Century Gothic" panose="020B0502020202020204" pitchFamily="34" charset="0"/>
            </a:endParaRPr>
          </a:p>
        </p:txBody>
      </p:sp>
      <p:sp>
        <p:nvSpPr>
          <p:cNvPr id="94" name="TextBox 93">
            <a:extLst>
              <a:ext uri="{FF2B5EF4-FFF2-40B4-BE49-F238E27FC236}">
                <a16:creationId xmlns:a16="http://schemas.microsoft.com/office/drawing/2014/main" id="{500D7FC0-F9BC-421D-9666-4A9CF0E3D202}"/>
              </a:ext>
            </a:extLst>
          </p:cNvPr>
          <p:cNvSpPr txBox="1"/>
          <p:nvPr/>
        </p:nvSpPr>
        <p:spPr>
          <a:xfrm>
            <a:off x="9947541" y="2742996"/>
            <a:ext cx="1920127" cy="923330"/>
          </a:xfrm>
          <a:prstGeom prst="rect">
            <a:avLst/>
          </a:prstGeom>
          <a:noFill/>
        </p:spPr>
        <p:txBody>
          <a:bodyPr wrap="square" rtlCol="0">
            <a:spAutoFit/>
          </a:bodyPr>
          <a:lstStyle/>
          <a:p>
            <a:pPr algn="ctr"/>
            <a:r>
              <a:rPr lang="en-CA" dirty="0">
                <a:solidFill>
                  <a:schemeClr val="tx1">
                    <a:lumMod val="75000"/>
                    <a:lumOff val="25000"/>
                  </a:schemeClr>
                </a:solidFill>
                <a:latin typeface="Century Gothic" panose="020B0502020202020204" pitchFamily="34" charset="0"/>
              </a:rPr>
              <a:t>Image Processing Costs</a:t>
            </a:r>
            <a:endParaRPr lang="en-GB" dirty="0">
              <a:solidFill>
                <a:schemeClr val="tx1">
                  <a:lumMod val="75000"/>
                  <a:lumOff val="25000"/>
                </a:schemeClr>
              </a:solidFill>
              <a:latin typeface="Century Gothic" panose="020B0502020202020204" pitchFamily="34" charset="0"/>
            </a:endParaRPr>
          </a:p>
        </p:txBody>
      </p:sp>
      <p:pic>
        <p:nvPicPr>
          <p:cNvPr id="99" name="Graphic 98" descr="Coins">
            <a:extLst>
              <a:ext uri="{FF2B5EF4-FFF2-40B4-BE49-F238E27FC236}">
                <a16:creationId xmlns:a16="http://schemas.microsoft.com/office/drawing/2014/main" id="{B80166B9-C21A-45B3-AC80-AAB36E328A2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76777" y="1368282"/>
            <a:ext cx="570764" cy="570764"/>
          </a:xfrm>
          <a:prstGeom prst="rect">
            <a:avLst/>
          </a:prstGeom>
        </p:spPr>
      </p:pic>
      <p:pic>
        <p:nvPicPr>
          <p:cNvPr id="100" name="Graphic 99" descr="Coins">
            <a:extLst>
              <a:ext uri="{FF2B5EF4-FFF2-40B4-BE49-F238E27FC236}">
                <a16:creationId xmlns:a16="http://schemas.microsoft.com/office/drawing/2014/main" id="{AA2175F5-CD82-416A-9CC3-24248A9ACD1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2590" y="5690653"/>
            <a:ext cx="570764" cy="570764"/>
          </a:xfrm>
          <a:prstGeom prst="rect">
            <a:avLst/>
          </a:prstGeom>
        </p:spPr>
      </p:pic>
      <p:pic>
        <p:nvPicPr>
          <p:cNvPr id="101" name="Graphic 100" descr="Coins">
            <a:extLst>
              <a:ext uri="{FF2B5EF4-FFF2-40B4-BE49-F238E27FC236}">
                <a16:creationId xmlns:a16="http://schemas.microsoft.com/office/drawing/2014/main" id="{5FF190DF-6824-4299-80C6-711C8F36A93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801927" y="3310922"/>
            <a:ext cx="570764" cy="570764"/>
          </a:xfrm>
          <a:prstGeom prst="rect">
            <a:avLst/>
          </a:prstGeom>
        </p:spPr>
      </p:pic>
      <p:sp>
        <p:nvSpPr>
          <p:cNvPr id="102" name="TextBox 101">
            <a:extLst>
              <a:ext uri="{FF2B5EF4-FFF2-40B4-BE49-F238E27FC236}">
                <a16:creationId xmlns:a16="http://schemas.microsoft.com/office/drawing/2014/main" id="{DEE67A24-489A-4593-BFE8-CB014A85C17F}"/>
              </a:ext>
            </a:extLst>
          </p:cNvPr>
          <p:cNvSpPr txBox="1"/>
          <p:nvPr/>
        </p:nvSpPr>
        <p:spPr>
          <a:xfrm>
            <a:off x="448887" y="1151767"/>
            <a:ext cx="4855974" cy="369332"/>
          </a:xfrm>
          <a:prstGeom prst="rect">
            <a:avLst/>
          </a:prstGeom>
          <a:noFill/>
        </p:spPr>
        <p:txBody>
          <a:bodyPr wrap="square" rtlCol="0">
            <a:spAutoFit/>
          </a:bodyPr>
          <a:lstStyle/>
          <a:p>
            <a:r>
              <a:rPr lang="en-US" b="1" dirty="0">
                <a:solidFill>
                  <a:schemeClr val="tx1">
                    <a:lumMod val="75000"/>
                    <a:lumOff val="25000"/>
                  </a:schemeClr>
                </a:solidFill>
                <a:latin typeface="Century Gothic" panose="020B0502020202020204" pitchFamily="34" charset="0"/>
              </a:rPr>
              <a:t>The Business Model</a:t>
            </a:r>
          </a:p>
        </p:txBody>
      </p:sp>
    </p:spTree>
    <p:extLst>
      <p:ext uri="{BB962C8B-B14F-4D97-AF65-F5344CB8AC3E}">
        <p14:creationId xmlns:p14="http://schemas.microsoft.com/office/powerpoint/2010/main" val="108925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0"/>
                                  </p:stCondLst>
                                  <p:childTnLst>
                                    <p:set>
                                      <p:cBhvr>
                                        <p:cTn id="36" dur="1" fill="hold">
                                          <p:stCondLst>
                                            <p:cond delay="0"/>
                                          </p:stCondLst>
                                        </p:cTn>
                                        <p:tgtEl>
                                          <p:spTgt spid="75"/>
                                        </p:tgtEl>
                                        <p:attrNameLst>
                                          <p:attrName>style.visibility</p:attrName>
                                        </p:attrNameLst>
                                      </p:cBhvr>
                                      <p:to>
                                        <p:strVal val="visible"/>
                                      </p:to>
                                    </p:set>
                                    <p:animEffect transition="in" filter="fade">
                                      <p:cBhvr>
                                        <p:cTn id="37" dur="500"/>
                                        <p:tgtEl>
                                          <p:spTgt spid="75"/>
                                        </p:tgtEl>
                                      </p:cBhvr>
                                    </p:animEffect>
                                  </p:childTnLst>
                                </p:cTn>
                              </p:par>
                              <p:par>
                                <p:cTn id="38" presetID="10" presetClass="entr" presetSubtype="0" fill="hold"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500"/>
                                        <p:tgtEl>
                                          <p:spTgt spid="27"/>
                                        </p:tgtEl>
                                      </p:cBhvr>
                                    </p:animEffect>
                                  </p:childTnLst>
                                </p:cTn>
                              </p:par>
                              <p:par>
                                <p:cTn id="41" presetID="10" presetClass="entr" presetSubtype="0" fill="hold" nodeType="withEffect">
                                  <p:stCondLst>
                                    <p:cond delay="0"/>
                                  </p:stCondLst>
                                  <p:childTnLst>
                                    <p:set>
                                      <p:cBhvr>
                                        <p:cTn id="42" dur="1" fill="hold">
                                          <p:stCondLst>
                                            <p:cond delay="0"/>
                                          </p:stCondLst>
                                        </p:cTn>
                                        <p:tgtEl>
                                          <p:spTgt spid="76"/>
                                        </p:tgtEl>
                                        <p:attrNameLst>
                                          <p:attrName>style.visibility</p:attrName>
                                        </p:attrNameLst>
                                      </p:cBhvr>
                                      <p:to>
                                        <p:strVal val="visible"/>
                                      </p:to>
                                    </p:set>
                                    <p:animEffect transition="in" filter="fade">
                                      <p:cBhvr>
                                        <p:cTn id="43" dur="500"/>
                                        <p:tgtEl>
                                          <p:spTgt spid="76"/>
                                        </p:tgtEl>
                                      </p:cBhvr>
                                    </p:animEffect>
                                  </p:childTnLst>
                                </p:cTn>
                              </p:par>
                              <p:par>
                                <p:cTn id="44" presetID="10" presetClass="entr" presetSubtype="0" fill="hold" nodeType="withEffect">
                                  <p:stCondLst>
                                    <p:cond delay="0"/>
                                  </p:stCondLst>
                                  <p:childTnLst>
                                    <p:set>
                                      <p:cBhvr>
                                        <p:cTn id="45" dur="1" fill="hold">
                                          <p:stCondLst>
                                            <p:cond delay="0"/>
                                          </p:stCondLst>
                                        </p:cTn>
                                        <p:tgtEl>
                                          <p:spTgt spid="77"/>
                                        </p:tgtEl>
                                        <p:attrNameLst>
                                          <p:attrName>style.visibility</p:attrName>
                                        </p:attrNameLst>
                                      </p:cBhvr>
                                      <p:to>
                                        <p:strVal val="visible"/>
                                      </p:to>
                                    </p:set>
                                    <p:animEffect transition="in" filter="fade">
                                      <p:cBhvr>
                                        <p:cTn id="46" dur="500"/>
                                        <p:tgtEl>
                                          <p:spTgt spid="7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2"/>
                                        </p:tgtEl>
                                        <p:attrNameLst>
                                          <p:attrName>style.visibility</p:attrName>
                                        </p:attrNameLst>
                                      </p:cBhvr>
                                      <p:to>
                                        <p:strVal val="visible"/>
                                      </p:to>
                                    </p:set>
                                    <p:animEffect transition="in" filter="fade">
                                      <p:cBhvr>
                                        <p:cTn id="49" dur="500"/>
                                        <p:tgtEl>
                                          <p:spTgt spid="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3"/>
                                        </p:tgtEl>
                                        <p:attrNameLst>
                                          <p:attrName>style.visibility</p:attrName>
                                        </p:attrNameLst>
                                      </p:cBhvr>
                                      <p:to>
                                        <p:strVal val="visible"/>
                                      </p:to>
                                    </p:set>
                                    <p:animEffect transition="in" filter="fade">
                                      <p:cBhvr>
                                        <p:cTn id="52" dur="500"/>
                                        <p:tgtEl>
                                          <p:spTgt spid="8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fade">
                                      <p:cBhvr>
                                        <p:cTn id="61" dur="500"/>
                                        <p:tgtEl>
                                          <p:spTgt spid="81"/>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10" presetClass="entr" presetSubtype="0" fill="hold"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92"/>
                                        </p:tgtEl>
                                        <p:attrNameLst>
                                          <p:attrName>style.visibility</p:attrName>
                                        </p:attrNameLst>
                                      </p:cBhvr>
                                      <p:to>
                                        <p:strVal val="visible"/>
                                      </p:to>
                                    </p:set>
                                    <p:animEffect transition="in" filter="fade">
                                      <p:cBhvr>
                                        <p:cTn id="72" dur="500"/>
                                        <p:tgtEl>
                                          <p:spTgt spid="92"/>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93"/>
                                        </p:tgtEl>
                                        <p:attrNameLst>
                                          <p:attrName>style.visibility</p:attrName>
                                        </p:attrNameLst>
                                      </p:cBhvr>
                                      <p:to>
                                        <p:strVal val="visible"/>
                                      </p:to>
                                    </p:set>
                                    <p:animEffect transition="in" filter="fade">
                                      <p:cBhvr>
                                        <p:cTn id="75" dur="500"/>
                                        <p:tgtEl>
                                          <p:spTgt spid="9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94"/>
                                        </p:tgtEl>
                                        <p:attrNameLst>
                                          <p:attrName>style.visibility</p:attrName>
                                        </p:attrNameLst>
                                      </p:cBhvr>
                                      <p:to>
                                        <p:strVal val="visible"/>
                                      </p:to>
                                    </p:set>
                                    <p:animEffect transition="in" filter="fade">
                                      <p:cBhvr>
                                        <p:cTn id="78" dur="500"/>
                                        <p:tgtEl>
                                          <p:spTgt spid="94"/>
                                        </p:tgtEl>
                                      </p:cBhvr>
                                    </p:animEffect>
                                  </p:childTnLst>
                                </p:cTn>
                              </p:par>
                              <p:par>
                                <p:cTn id="79" presetID="10" presetClass="entr" presetSubtype="0" fill="hold" nodeType="withEffect">
                                  <p:stCondLst>
                                    <p:cond delay="0"/>
                                  </p:stCondLst>
                                  <p:childTnLst>
                                    <p:set>
                                      <p:cBhvr>
                                        <p:cTn id="80" dur="1" fill="hold">
                                          <p:stCondLst>
                                            <p:cond delay="0"/>
                                          </p:stCondLst>
                                        </p:cTn>
                                        <p:tgtEl>
                                          <p:spTgt spid="99"/>
                                        </p:tgtEl>
                                        <p:attrNameLst>
                                          <p:attrName>style.visibility</p:attrName>
                                        </p:attrNameLst>
                                      </p:cBhvr>
                                      <p:to>
                                        <p:strVal val="visible"/>
                                      </p:to>
                                    </p:set>
                                    <p:animEffect transition="in" filter="fade">
                                      <p:cBhvr>
                                        <p:cTn id="81" dur="500"/>
                                        <p:tgtEl>
                                          <p:spTgt spid="99"/>
                                        </p:tgtEl>
                                      </p:cBhvr>
                                    </p:animEffect>
                                  </p:childTnLst>
                                </p:cTn>
                              </p:par>
                              <p:par>
                                <p:cTn id="82" presetID="10" presetClass="entr" presetSubtype="0" fill="hold" nodeType="withEffect">
                                  <p:stCondLst>
                                    <p:cond delay="0"/>
                                  </p:stCondLst>
                                  <p:childTnLst>
                                    <p:set>
                                      <p:cBhvr>
                                        <p:cTn id="83" dur="1" fill="hold">
                                          <p:stCondLst>
                                            <p:cond delay="0"/>
                                          </p:stCondLst>
                                        </p:cTn>
                                        <p:tgtEl>
                                          <p:spTgt spid="101"/>
                                        </p:tgtEl>
                                        <p:attrNameLst>
                                          <p:attrName>style.visibility</p:attrName>
                                        </p:attrNameLst>
                                      </p:cBhvr>
                                      <p:to>
                                        <p:strVal val="visible"/>
                                      </p:to>
                                    </p:set>
                                    <p:animEffect transition="in" filter="fade">
                                      <p:cBhvr>
                                        <p:cTn id="84" dur="500"/>
                                        <p:tgtEl>
                                          <p:spTgt spid="101"/>
                                        </p:tgtEl>
                                      </p:cBhvr>
                                    </p:animEffect>
                                  </p:childTnLst>
                                </p:cTn>
                              </p:par>
                              <p:par>
                                <p:cTn id="85" presetID="10" presetClass="entr" presetSubtype="0" fill="hold" nodeType="withEffect">
                                  <p:stCondLst>
                                    <p:cond delay="0"/>
                                  </p:stCondLst>
                                  <p:childTnLst>
                                    <p:set>
                                      <p:cBhvr>
                                        <p:cTn id="86" dur="1" fill="hold">
                                          <p:stCondLst>
                                            <p:cond delay="0"/>
                                          </p:stCondLst>
                                        </p:cTn>
                                        <p:tgtEl>
                                          <p:spTgt spid="100"/>
                                        </p:tgtEl>
                                        <p:attrNameLst>
                                          <p:attrName>style.visibility</p:attrName>
                                        </p:attrNameLst>
                                      </p:cBhvr>
                                      <p:to>
                                        <p:strVal val="visible"/>
                                      </p:to>
                                    </p:set>
                                    <p:animEffect transition="in" filter="fade">
                                      <p:cBhvr>
                                        <p:cTn id="87" dur="500"/>
                                        <p:tgtEl>
                                          <p:spTgt spid="100"/>
                                        </p:tgtEl>
                                      </p:cBhvr>
                                    </p:animEffect>
                                  </p:childTnLst>
                                </p:cTn>
                              </p:par>
                              <p:par>
                                <p:cTn id="88" presetID="10" presetClass="entr" presetSubtype="0" fill="hold" nodeType="withEffect">
                                  <p:stCondLst>
                                    <p:cond delay="0"/>
                                  </p:stCondLst>
                                  <p:childTnLst>
                                    <p:set>
                                      <p:cBhvr>
                                        <p:cTn id="89" dur="1" fill="hold">
                                          <p:stCondLst>
                                            <p:cond delay="0"/>
                                          </p:stCondLst>
                                        </p:cTn>
                                        <p:tgtEl>
                                          <p:spTgt spid="86"/>
                                        </p:tgtEl>
                                        <p:attrNameLst>
                                          <p:attrName>style.visibility</p:attrName>
                                        </p:attrNameLst>
                                      </p:cBhvr>
                                      <p:to>
                                        <p:strVal val="visible"/>
                                      </p:to>
                                    </p:set>
                                    <p:animEffect transition="in" filter="fade">
                                      <p:cBhvr>
                                        <p:cTn id="90" dur="500"/>
                                        <p:tgtEl>
                                          <p:spTgt spid="86"/>
                                        </p:tgtEl>
                                      </p:cBhvr>
                                    </p:animEffect>
                                  </p:childTnLst>
                                </p:cTn>
                              </p:par>
                              <p:par>
                                <p:cTn id="91" presetID="10" presetClass="entr" presetSubtype="0" fill="hold" nodeType="withEffect">
                                  <p:stCondLst>
                                    <p:cond delay="0"/>
                                  </p:stCondLst>
                                  <p:childTnLst>
                                    <p:set>
                                      <p:cBhvr>
                                        <p:cTn id="92" dur="1" fill="hold">
                                          <p:stCondLst>
                                            <p:cond delay="0"/>
                                          </p:stCondLst>
                                        </p:cTn>
                                        <p:tgtEl>
                                          <p:spTgt spid="85"/>
                                        </p:tgtEl>
                                        <p:attrNameLst>
                                          <p:attrName>style.visibility</p:attrName>
                                        </p:attrNameLst>
                                      </p:cBhvr>
                                      <p:to>
                                        <p:strVal val="visible"/>
                                      </p:to>
                                    </p:set>
                                    <p:animEffect transition="in" filter="fade">
                                      <p:cBhvr>
                                        <p:cTn id="93" dur="500"/>
                                        <p:tgtEl>
                                          <p:spTgt spid="85"/>
                                        </p:tgtEl>
                                      </p:cBhvr>
                                    </p:animEffect>
                                  </p:childTnLst>
                                </p:cTn>
                              </p:par>
                              <p:par>
                                <p:cTn id="94" presetID="10" presetClass="entr" presetSubtype="0" fill="hold" nodeType="withEffect">
                                  <p:stCondLst>
                                    <p:cond delay="0"/>
                                  </p:stCondLst>
                                  <p:childTnLst>
                                    <p:set>
                                      <p:cBhvr>
                                        <p:cTn id="95" dur="1" fill="hold">
                                          <p:stCondLst>
                                            <p:cond delay="0"/>
                                          </p:stCondLst>
                                        </p:cTn>
                                        <p:tgtEl>
                                          <p:spTgt spid="89"/>
                                        </p:tgtEl>
                                        <p:attrNameLst>
                                          <p:attrName>style.visibility</p:attrName>
                                        </p:attrNameLst>
                                      </p:cBhvr>
                                      <p:to>
                                        <p:strVal val="visible"/>
                                      </p:to>
                                    </p:set>
                                    <p:animEffect transition="in" filter="fade">
                                      <p:cBhvr>
                                        <p:cTn id="96" dur="500"/>
                                        <p:tgtEl>
                                          <p:spTgt spid="89"/>
                                        </p:tgtEl>
                                      </p:cBhvr>
                                    </p:animEffect>
                                  </p:childTnLst>
                                </p:cTn>
                              </p:par>
                              <p:par>
                                <p:cTn id="97" presetID="10" presetClass="entr" presetSubtype="0" fill="hold" nodeType="withEffect">
                                  <p:stCondLst>
                                    <p:cond delay="0"/>
                                  </p:stCondLst>
                                  <p:childTnLst>
                                    <p:set>
                                      <p:cBhvr>
                                        <p:cTn id="98" dur="1" fill="hold">
                                          <p:stCondLst>
                                            <p:cond delay="0"/>
                                          </p:stCondLst>
                                        </p:cTn>
                                        <p:tgtEl>
                                          <p:spTgt spid="38"/>
                                        </p:tgtEl>
                                        <p:attrNameLst>
                                          <p:attrName>style.visibility</p:attrName>
                                        </p:attrNameLst>
                                      </p:cBhvr>
                                      <p:to>
                                        <p:strVal val="visible"/>
                                      </p:to>
                                    </p:set>
                                    <p:animEffect transition="in" filter="fade">
                                      <p:cBhvr>
                                        <p:cTn id="99"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8" grpId="0"/>
      <p:bldP spid="79" grpId="0"/>
      <p:bldP spid="80" grpId="0"/>
      <p:bldP spid="81" grpId="0"/>
      <p:bldP spid="82" grpId="0"/>
      <p:bldP spid="83" grpId="0"/>
      <p:bldP spid="84" grpId="0"/>
      <p:bldP spid="92" grpId="0"/>
      <p:bldP spid="93" grpId="0"/>
      <p:bldP spid="9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CA1AE3F-710F-4A48-B30C-A0EBB7F24920}"/>
              </a:ext>
            </a:extLst>
          </p:cNvPr>
          <p:cNvCxnSpPr/>
          <p:nvPr/>
        </p:nvCxnSpPr>
        <p:spPr>
          <a:xfrm>
            <a:off x="311350" y="6495325"/>
            <a:ext cx="11377200" cy="25613"/>
          </a:xfrm>
          <a:prstGeom prst="line">
            <a:avLst/>
          </a:prstGeom>
          <a:ln>
            <a:solidFill>
              <a:srgbClr val="373334"/>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5806D946-4987-4585-97B2-7AD3B54D6588}"/>
              </a:ext>
            </a:extLst>
          </p:cNvPr>
          <p:cNvSpPr>
            <a:spLocks noGrp="1"/>
          </p:cNvSpPr>
          <p:nvPr>
            <p:ph type="sldNum" sz="quarter" idx="13"/>
          </p:nvPr>
        </p:nvSpPr>
        <p:spPr/>
        <p:txBody>
          <a:bodyPr/>
          <a:lstStyle/>
          <a:p>
            <a:fld id="{330EA680-D336-4FF7-8B7A-9848BB0A1C32}" type="slidenum">
              <a:rPr lang="en-US" smtClean="0"/>
              <a:t>8</a:t>
            </a:fld>
            <a:endParaRPr lang="en-US"/>
          </a:p>
        </p:txBody>
      </p:sp>
      <p:sp>
        <p:nvSpPr>
          <p:cNvPr id="11" name="TextBox 10">
            <a:extLst>
              <a:ext uri="{FF2B5EF4-FFF2-40B4-BE49-F238E27FC236}">
                <a16:creationId xmlns:a16="http://schemas.microsoft.com/office/drawing/2014/main" id="{2D169F72-46E2-4D12-83DC-4CED653ECCE0}"/>
              </a:ext>
            </a:extLst>
          </p:cNvPr>
          <p:cNvSpPr txBox="1"/>
          <p:nvPr/>
        </p:nvSpPr>
        <p:spPr>
          <a:xfrm>
            <a:off x="448887" y="406656"/>
            <a:ext cx="11531853" cy="584775"/>
          </a:xfrm>
          <a:prstGeom prst="rect">
            <a:avLst/>
          </a:prstGeom>
          <a:noFill/>
        </p:spPr>
        <p:txBody>
          <a:bodyPr wrap="square" rtlCol="0" anchor="t">
            <a:spAutoFit/>
          </a:bodyPr>
          <a:lstStyle/>
          <a:p>
            <a:r>
              <a:rPr lang="en-US" sz="3200" b="1" dirty="0">
                <a:solidFill>
                  <a:schemeClr val="tx2"/>
                </a:solidFill>
                <a:latin typeface="Century Gothic" panose="020B0502020202020204" pitchFamily="34" charset="0"/>
                <a:cs typeface="Arial"/>
              </a:rPr>
              <a:t>A </a:t>
            </a:r>
            <a:r>
              <a:rPr lang="en-US" sz="3200" b="1" dirty="0">
                <a:solidFill>
                  <a:srgbClr val="FF0000"/>
                </a:solidFill>
                <a:latin typeface="Century Gothic" panose="020B0502020202020204" pitchFamily="34" charset="0"/>
                <a:cs typeface="Arial"/>
              </a:rPr>
              <a:t>Safe</a:t>
            </a:r>
            <a:r>
              <a:rPr lang="en-US" sz="3200" b="1" dirty="0">
                <a:solidFill>
                  <a:schemeClr val="tx2"/>
                </a:solidFill>
                <a:latin typeface="Century Gothic" panose="020B0502020202020204" pitchFamily="34" charset="0"/>
                <a:cs typeface="Arial"/>
              </a:rPr>
              <a:t> Bet</a:t>
            </a:r>
            <a:endParaRPr lang="ru-RU" sz="3200" b="1" dirty="0">
              <a:solidFill>
                <a:schemeClr val="tx2"/>
              </a:solidFill>
              <a:latin typeface="Century Gothic" panose="020B0502020202020204" pitchFamily="34" charset="0"/>
              <a:cs typeface="Arial" panose="020B0604020202020204" pitchFamily="34" charset="0"/>
            </a:endParaRPr>
          </a:p>
        </p:txBody>
      </p:sp>
      <p:cxnSp>
        <p:nvCxnSpPr>
          <p:cNvPr id="42" name="Straight Connector 41">
            <a:extLst>
              <a:ext uri="{FF2B5EF4-FFF2-40B4-BE49-F238E27FC236}">
                <a16:creationId xmlns:a16="http://schemas.microsoft.com/office/drawing/2014/main" id="{5174F9DF-E7A3-4A57-9AC8-92E11E7D2EC2}"/>
              </a:ext>
            </a:extLst>
          </p:cNvPr>
          <p:cNvCxnSpPr/>
          <p:nvPr>
            <p:custDataLst>
              <p:tags r:id="rId1"/>
            </p:custDataLst>
          </p:nvPr>
        </p:nvCxnSpPr>
        <p:spPr bwMode="gray">
          <a:xfrm>
            <a:off x="5893445" y="3332347"/>
            <a:ext cx="3025775"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18B7517-7067-43B2-A7E2-253FF68F9979}"/>
              </a:ext>
            </a:extLst>
          </p:cNvPr>
          <p:cNvCxnSpPr/>
          <p:nvPr>
            <p:custDataLst>
              <p:tags r:id="rId2"/>
            </p:custDataLst>
          </p:nvPr>
        </p:nvCxnSpPr>
        <p:spPr bwMode="gray">
          <a:xfrm>
            <a:off x="5893445" y="4046722"/>
            <a:ext cx="3025775"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509C374-8738-468A-8B03-427B30198E4D}"/>
              </a:ext>
            </a:extLst>
          </p:cNvPr>
          <p:cNvCxnSpPr/>
          <p:nvPr>
            <p:custDataLst>
              <p:tags r:id="rId3"/>
            </p:custDataLst>
          </p:nvPr>
        </p:nvCxnSpPr>
        <p:spPr bwMode="gray">
          <a:xfrm>
            <a:off x="5893445" y="4403909"/>
            <a:ext cx="3025775"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C5307DF-298F-4641-BFA4-92397570F3C0}"/>
              </a:ext>
            </a:extLst>
          </p:cNvPr>
          <p:cNvCxnSpPr/>
          <p:nvPr>
            <p:custDataLst>
              <p:tags r:id="rId4"/>
            </p:custDataLst>
          </p:nvPr>
        </p:nvCxnSpPr>
        <p:spPr bwMode="gray">
          <a:xfrm>
            <a:off x="5893445" y="5118284"/>
            <a:ext cx="3025775"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5FA5A3A-2037-4E25-B3B4-51EAE1173A8D}"/>
              </a:ext>
            </a:extLst>
          </p:cNvPr>
          <p:cNvCxnSpPr/>
          <p:nvPr>
            <p:custDataLst>
              <p:tags r:id="rId5"/>
            </p:custDataLst>
          </p:nvPr>
        </p:nvCxnSpPr>
        <p:spPr bwMode="gray">
          <a:xfrm>
            <a:off x="5893445" y="2617972"/>
            <a:ext cx="3025775"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E5F82A0-438E-4457-81CA-BC602DE35735}"/>
              </a:ext>
            </a:extLst>
          </p:cNvPr>
          <p:cNvCxnSpPr/>
          <p:nvPr>
            <p:custDataLst>
              <p:tags r:id="rId6"/>
            </p:custDataLst>
          </p:nvPr>
        </p:nvCxnSpPr>
        <p:spPr bwMode="gray">
          <a:xfrm>
            <a:off x="5893445" y="4761097"/>
            <a:ext cx="3025775"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6935F2D-E679-4845-BAD1-43B782346D55}"/>
              </a:ext>
            </a:extLst>
          </p:cNvPr>
          <p:cNvCxnSpPr/>
          <p:nvPr>
            <p:custDataLst>
              <p:tags r:id="rId7"/>
            </p:custDataLst>
          </p:nvPr>
        </p:nvCxnSpPr>
        <p:spPr bwMode="gray">
          <a:xfrm>
            <a:off x="5893445" y="3689534"/>
            <a:ext cx="3025775"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892068C-A98B-41F0-A08B-182826CC6A96}"/>
              </a:ext>
            </a:extLst>
          </p:cNvPr>
          <p:cNvCxnSpPr/>
          <p:nvPr>
            <p:custDataLst>
              <p:tags r:id="rId8"/>
            </p:custDataLst>
          </p:nvPr>
        </p:nvCxnSpPr>
        <p:spPr bwMode="gray">
          <a:xfrm>
            <a:off x="5893445" y="2975159"/>
            <a:ext cx="3025775" cy="0"/>
          </a:xfrm>
          <a:prstGeom prst="line">
            <a:avLst/>
          </a:prstGeom>
          <a:ln w="3175"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0" name="Chart 49">
            <a:extLst>
              <a:ext uri="{FF2B5EF4-FFF2-40B4-BE49-F238E27FC236}">
                <a16:creationId xmlns:a16="http://schemas.microsoft.com/office/drawing/2014/main" id="{1C45D7ED-6EB5-474D-828C-23724B923195}"/>
              </a:ext>
            </a:extLst>
          </p:cNvPr>
          <p:cNvGraphicFramePr/>
          <p:nvPr>
            <p:custDataLst>
              <p:tags r:id="rId9"/>
            </p:custDataLst>
            <p:extLst>
              <p:ext uri="{D42A27DB-BD31-4B8C-83A1-F6EECF244321}">
                <p14:modId xmlns:p14="http://schemas.microsoft.com/office/powerpoint/2010/main" val="581895701"/>
              </p:ext>
            </p:extLst>
          </p:nvPr>
        </p:nvGraphicFramePr>
        <p:xfrm>
          <a:off x="5099195" y="2505259"/>
          <a:ext cx="3902575" cy="3084513"/>
        </p:xfrm>
        <a:graphic>
          <a:graphicData uri="http://schemas.openxmlformats.org/drawingml/2006/chart">
            <c:chart xmlns:c="http://schemas.openxmlformats.org/drawingml/2006/chart" xmlns:r="http://schemas.openxmlformats.org/officeDocument/2006/relationships" r:id="rId28"/>
          </a:graphicData>
        </a:graphic>
      </p:graphicFrame>
      <p:sp>
        <p:nvSpPr>
          <p:cNvPr id="51" name="Text Placeholder 2">
            <a:extLst>
              <a:ext uri="{FF2B5EF4-FFF2-40B4-BE49-F238E27FC236}">
                <a16:creationId xmlns:a16="http://schemas.microsoft.com/office/drawing/2014/main" id="{0D294965-80D3-443D-94F7-545DE3C71F93}"/>
              </a:ext>
            </a:extLst>
          </p:cNvPr>
          <p:cNvSpPr>
            <a:spLocks noGrp="1"/>
          </p:cNvSpPr>
          <p:nvPr>
            <p:custDataLst>
              <p:tags r:id="rId10"/>
            </p:custDataLst>
          </p:nvPr>
        </p:nvSpPr>
        <p:spPr bwMode="gray">
          <a:xfrm>
            <a:off x="8257233" y="2713222"/>
            <a:ext cx="3159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9B3818-AAD6-4686-8E02-AD7D36E01101}" type="datetime'''''''''''''''''''''''''''''''''''3''''6,0'''''''''''''''">
              <a:rPr lang="en-US" altLang="en-US" sz="1200" smtClean="0"/>
              <a:pPr/>
              <a:t>36,0</a:t>
            </a:fld>
            <a:endParaRPr lang="en-US" sz="1200" dirty="0">
              <a:sym typeface="+mn-lt"/>
            </a:endParaRPr>
          </a:p>
        </p:txBody>
      </p:sp>
      <p:sp>
        <p:nvSpPr>
          <p:cNvPr id="52" name="Text Placeholder 2">
            <a:extLst>
              <a:ext uri="{FF2B5EF4-FFF2-40B4-BE49-F238E27FC236}">
                <a16:creationId xmlns:a16="http://schemas.microsoft.com/office/drawing/2014/main" id="{145F5193-08A4-4FC5-9E33-5A4AAE8E97CB}"/>
              </a:ext>
            </a:extLst>
          </p:cNvPr>
          <p:cNvSpPr>
            <a:spLocks noGrp="1"/>
          </p:cNvSpPr>
          <p:nvPr>
            <p:custDataLst>
              <p:tags r:id="rId11"/>
            </p:custDataLst>
          </p:nvPr>
        </p:nvSpPr>
        <p:spPr bwMode="gray">
          <a:xfrm>
            <a:off x="7249170" y="4984934"/>
            <a:ext cx="315913" cy="165100"/>
          </a:xfrm>
          <a:prstGeom prst="rect">
            <a:avLst/>
          </a:prstGeom>
          <a:noFill/>
          <a:ln>
            <a:noFill/>
          </a:ln>
          <a:extLst>
            <a:ext uri="{909E8E84-426E-40DD-AFC4-6F175D3DCCD1}">
              <a14:hiddenFill xmlns:a14="http://schemas.microsoft.com/office/drawing/2010/main">
                <a:solidFill>
                  <a:srgbClr val="C3CFE1"/>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ED3497-9450-4512-802E-F4767ACDC5C4}" type="datetime'''''''''1''''''''''''''''''''''1'''''''''',''''''4'''''''''">
              <a:rPr lang="en-US" altLang="en-US" sz="1200" smtClean="0">
                <a:sym typeface="+mn-lt"/>
              </a:rPr>
              <a:pPr/>
              <a:t>11,4</a:t>
            </a:fld>
            <a:endParaRPr lang="en-US" sz="1200" dirty="0">
              <a:sym typeface="+mn-lt"/>
            </a:endParaRPr>
          </a:p>
        </p:txBody>
      </p:sp>
      <p:sp>
        <p:nvSpPr>
          <p:cNvPr id="53" name="Text Placeholder 2">
            <a:extLst>
              <a:ext uri="{FF2B5EF4-FFF2-40B4-BE49-F238E27FC236}">
                <a16:creationId xmlns:a16="http://schemas.microsoft.com/office/drawing/2014/main" id="{5B4B1AE8-368B-4170-8002-B7EAC777B279}"/>
              </a:ext>
            </a:extLst>
          </p:cNvPr>
          <p:cNvSpPr>
            <a:spLocks noGrp="1"/>
          </p:cNvSpPr>
          <p:nvPr>
            <p:custDataLst>
              <p:tags r:id="rId12"/>
            </p:custDataLst>
          </p:nvPr>
        </p:nvSpPr>
        <p:spPr bwMode="auto">
          <a:xfrm>
            <a:off x="5682309" y="2252847"/>
            <a:ext cx="4222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419" sz="1200" dirty="0">
                <a:solidFill>
                  <a:schemeClr val="accent2"/>
                </a:solidFill>
                <a:sym typeface="+mn-lt"/>
              </a:rPr>
              <a:t>$BUSD</a:t>
            </a:r>
            <a:endParaRPr lang="en-US" sz="1200" dirty="0">
              <a:solidFill>
                <a:schemeClr val="accent2"/>
              </a:solidFill>
              <a:sym typeface="+mn-lt"/>
            </a:endParaRPr>
          </a:p>
        </p:txBody>
      </p:sp>
      <p:sp>
        <p:nvSpPr>
          <p:cNvPr id="54" name="Text Placeholder 2">
            <a:extLst>
              <a:ext uri="{FF2B5EF4-FFF2-40B4-BE49-F238E27FC236}">
                <a16:creationId xmlns:a16="http://schemas.microsoft.com/office/drawing/2014/main" id="{5A7FCA49-8B51-4385-8374-3E35CF840C07}"/>
              </a:ext>
            </a:extLst>
          </p:cNvPr>
          <p:cNvSpPr>
            <a:spLocks noGrp="1"/>
          </p:cNvSpPr>
          <p:nvPr>
            <p:custDataLst>
              <p:tags r:id="rId13"/>
            </p:custDataLst>
          </p:nvPr>
        </p:nvSpPr>
        <p:spPr bwMode="gray">
          <a:xfrm>
            <a:off x="6137920" y="5310372"/>
            <a:ext cx="238125" cy="165100"/>
          </a:xfrm>
          <a:prstGeom prst="rect">
            <a:avLst/>
          </a:prstGeom>
          <a:noFill/>
          <a:ln>
            <a:noFill/>
          </a:ln>
          <a:extLst>
            <a:ext uri="{909E8E84-426E-40DD-AFC4-6F175D3DCCD1}">
              <a14:hiddenFill xmlns:a14="http://schemas.microsoft.com/office/drawing/2010/main">
                <a:solidFill>
                  <a:srgbClr val="C3CFE1"/>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E7D391-7770-4180-A483-E5BA3805A256}" type="datetime'''''''''''''2'''''''''''''''''''',''''''''''''''''''3'''''''''">
              <a:rPr lang="en-US" altLang="en-US" sz="1200" smtClean="0">
                <a:sym typeface="+mn-lt"/>
              </a:rPr>
              <a:pPr/>
              <a:t>2,3</a:t>
            </a:fld>
            <a:endParaRPr lang="en-US" sz="1200" dirty="0">
              <a:sym typeface="+mn-lt"/>
            </a:endParaRPr>
          </a:p>
        </p:txBody>
      </p:sp>
      <p:sp>
        <p:nvSpPr>
          <p:cNvPr id="55" name="Text Placeholder 2">
            <a:extLst>
              <a:ext uri="{FF2B5EF4-FFF2-40B4-BE49-F238E27FC236}">
                <a16:creationId xmlns:a16="http://schemas.microsoft.com/office/drawing/2014/main" id="{3C08838C-9C1A-42B3-8B58-8F9961CD71C2}"/>
              </a:ext>
            </a:extLst>
          </p:cNvPr>
          <p:cNvSpPr>
            <a:spLocks noGrp="1"/>
          </p:cNvSpPr>
          <p:nvPr>
            <p:custDataLst>
              <p:tags r:id="rId14"/>
            </p:custDataLst>
          </p:nvPr>
        </p:nvSpPr>
        <p:spPr bwMode="gray">
          <a:xfrm>
            <a:off x="6418908" y="5224647"/>
            <a:ext cx="238125" cy="165100"/>
          </a:xfrm>
          <a:prstGeom prst="rect">
            <a:avLst/>
          </a:prstGeom>
          <a:solidFill>
            <a:schemeClr val="accent1"/>
          </a:solidFill>
          <a:ln>
            <a:noFill/>
          </a:ln>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FEC03E-B4C4-4542-8E47-ECAF4224C7B7}" type="datetime'''''''''''''''''''''''''''0'''',''''1'''''''''''''''''''">
              <a:rPr lang="en-US" altLang="en-US" sz="1200" smtClean="0">
                <a:solidFill>
                  <a:schemeClr val="bg1"/>
                </a:solidFill>
              </a:rPr>
              <a:pPr/>
              <a:t>0,1</a:t>
            </a:fld>
            <a:endParaRPr lang="en-US" sz="1200" dirty="0">
              <a:solidFill>
                <a:schemeClr val="bg1"/>
              </a:solidFill>
              <a:sym typeface="+mn-lt"/>
            </a:endParaRPr>
          </a:p>
        </p:txBody>
      </p:sp>
      <p:sp>
        <p:nvSpPr>
          <p:cNvPr id="56" name="Text Placeholder 2">
            <a:extLst>
              <a:ext uri="{FF2B5EF4-FFF2-40B4-BE49-F238E27FC236}">
                <a16:creationId xmlns:a16="http://schemas.microsoft.com/office/drawing/2014/main" id="{4DB80594-5A68-461F-9ECA-068895EDD447}"/>
              </a:ext>
            </a:extLst>
          </p:cNvPr>
          <p:cNvSpPr>
            <a:spLocks noGrp="1"/>
          </p:cNvSpPr>
          <p:nvPr>
            <p:custDataLst>
              <p:tags r:id="rId15"/>
            </p:custDataLst>
          </p:nvPr>
        </p:nvSpPr>
        <p:spPr bwMode="auto">
          <a:xfrm>
            <a:off x="6077595" y="5526272"/>
            <a:ext cx="6381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29E05E5-7DA2-48E4-9477-8E0647EC8B76}" type="datetime'Es''c''''o''n''''d''''''''i''''''''''''da'''">
              <a:rPr lang="en-US" altLang="en-US" sz="1200" smtClean="0"/>
              <a:pPr/>
              <a:t>Escondida</a:t>
            </a:fld>
            <a:endParaRPr lang="en-US" sz="1200" dirty="0">
              <a:sym typeface="+mn-lt"/>
            </a:endParaRPr>
          </a:p>
        </p:txBody>
      </p:sp>
      <p:sp>
        <p:nvSpPr>
          <p:cNvPr id="57" name="Text Placeholder 2">
            <a:extLst>
              <a:ext uri="{FF2B5EF4-FFF2-40B4-BE49-F238E27FC236}">
                <a16:creationId xmlns:a16="http://schemas.microsoft.com/office/drawing/2014/main" id="{AAD5BD21-0727-484E-9844-E7F7CA4F01F5}"/>
              </a:ext>
            </a:extLst>
          </p:cNvPr>
          <p:cNvSpPr>
            <a:spLocks noGrp="1"/>
          </p:cNvSpPr>
          <p:nvPr>
            <p:custDataLst>
              <p:tags r:id="rId16"/>
            </p:custDataLst>
          </p:nvPr>
        </p:nvSpPr>
        <p:spPr bwMode="auto">
          <a:xfrm>
            <a:off x="7247583" y="5526272"/>
            <a:ext cx="3190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AE9017-1A69-422D-B74C-1F80F4DA52E8}" type="datetime'''''''''''''Ch''''''i''''l''''''''''''''''''''e'''''''''''''''">
              <a:rPr lang="en-US" altLang="en-US" sz="1200" smtClean="0"/>
              <a:pPr/>
              <a:t>Chile</a:t>
            </a:fld>
            <a:endParaRPr lang="en-US" sz="1200" dirty="0">
              <a:sym typeface="+mn-lt"/>
            </a:endParaRPr>
          </a:p>
        </p:txBody>
      </p:sp>
      <p:sp>
        <p:nvSpPr>
          <p:cNvPr id="58" name="Text Placeholder 2">
            <a:extLst>
              <a:ext uri="{FF2B5EF4-FFF2-40B4-BE49-F238E27FC236}">
                <a16:creationId xmlns:a16="http://schemas.microsoft.com/office/drawing/2014/main" id="{05D88343-8C61-45C7-B709-4E52DB751AD5}"/>
              </a:ext>
            </a:extLst>
          </p:cNvPr>
          <p:cNvSpPr>
            <a:spLocks noGrp="1"/>
          </p:cNvSpPr>
          <p:nvPr>
            <p:custDataLst>
              <p:tags r:id="rId17"/>
            </p:custDataLst>
          </p:nvPr>
        </p:nvSpPr>
        <p:spPr bwMode="gray">
          <a:xfrm>
            <a:off x="7287270" y="4556309"/>
            <a:ext cx="238125" cy="165100"/>
          </a:xfrm>
          <a:prstGeom prst="rect">
            <a:avLst/>
          </a:prstGeom>
          <a:solidFill>
            <a:schemeClr val="accent1"/>
          </a:solidFill>
          <a:ln>
            <a:noFill/>
          </a:ln>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C22EB3-3B98-4C4A-A04B-D114E69647ED}" type="datetime'''0'''''''''''''''',6'''''''''''">
              <a:rPr lang="en-US" altLang="en-US" sz="1200" smtClean="0">
                <a:solidFill>
                  <a:schemeClr val="bg1"/>
                </a:solidFill>
              </a:rPr>
              <a:pPr/>
              <a:t>0,6</a:t>
            </a:fld>
            <a:endParaRPr lang="en-US" sz="1200" dirty="0">
              <a:solidFill>
                <a:schemeClr val="bg1"/>
              </a:solidFill>
              <a:sym typeface="+mn-lt"/>
            </a:endParaRPr>
          </a:p>
        </p:txBody>
      </p:sp>
      <p:sp>
        <p:nvSpPr>
          <p:cNvPr id="59" name="Text Placeholder 2">
            <a:extLst>
              <a:ext uri="{FF2B5EF4-FFF2-40B4-BE49-F238E27FC236}">
                <a16:creationId xmlns:a16="http://schemas.microsoft.com/office/drawing/2014/main" id="{84BFC55F-4C22-4D7D-8072-BFB9139728AB}"/>
              </a:ext>
            </a:extLst>
          </p:cNvPr>
          <p:cNvSpPr>
            <a:spLocks noGrp="1"/>
          </p:cNvSpPr>
          <p:nvPr>
            <p:custDataLst>
              <p:tags r:id="rId18"/>
            </p:custDataLst>
          </p:nvPr>
        </p:nvSpPr>
        <p:spPr bwMode="gray">
          <a:xfrm>
            <a:off x="8295333" y="2884672"/>
            <a:ext cx="238125" cy="165100"/>
          </a:xfrm>
          <a:prstGeom prst="rect">
            <a:avLst/>
          </a:prstGeom>
          <a:solidFill>
            <a:schemeClr val="accent1"/>
          </a:solidFill>
          <a:ln>
            <a:noFill/>
          </a:ln>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DD9472-A036-4F72-BBCC-3BBD9E34686E}" type="datetime'''''''1'''''''''''''''',''''''''''''''''8'">
              <a:rPr lang="en-US" altLang="en-US" sz="1200" smtClean="0">
                <a:solidFill>
                  <a:schemeClr val="bg1"/>
                </a:solidFill>
              </a:rPr>
              <a:pPr/>
              <a:t>1,8</a:t>
            </a:fld>
            <a:endParaRPr lang="en-US" sz="1200" dirty="0">
              <a:solidFill>
                <a:schemeClr val="bg1"/>
              </a:solidFill>
              <a:sym typeface="+mn-lt"/>
            </a:endParaRPr>
          </a:p>
        </p:txBody>
      </p:sp>
      <p:sp>
        <p:nvSpPr>
          <p:cNvPr id="60" name="Text Placeholder 2">
            <a:extLst>
              <a:ext uri="{FF2B5EF4-FFF2-40B4-BE49-F238E27FC236}">
                <a16:creationId xmlns:a16="http://schemas.microsoft.com/office/drawing/2014/main" id="{CDCD0A46-2506-4E11-BB70-7C9168E05DB0}"/>
              </a:ext>
            </a:extLst>
          </p:cNvPr>
          <p:cNvSpPr>
            <a:spLocks noGrp="1"/>
          </p:cNvSpPr>
          <p:nvPr>
            <p:custDataLst>
              <p:tags r:id="rId19"/>
            </p:custDataLst>
          </p:nvPr>
        </p:nvSpPr>
        <p:spPr bwMode="gray">
          <a:xfrm>
            <a:off x="8257233" y="4170547"/>
            <a:ext cx="315913" cy="165100"/>
          </a:xfrm>
          <a:prstGeom prst="rect">
            <a:avLst/>
          </a:prstGeom>
          <a:noFill/>
          <a:ln>
            <a:noFill/>
          </a:ln>
          <a:extLst>
            <a:ext uri="{909E8E84-426E-40DD-AFC4-6F175D3DCCD1}">
              <a14:hiddenFill xmlns:a14="http://schemas.microsoft.com/office/drawing/2010/main">
                <a:solidFill>
                  <a:srgbClr val="C3CFE1"/>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EE284B-2408-456D-BEE5-7369FA67368E}" type="datetime'''''''''3''''''''''''''''''''4'''''',''''''2'''''''''''''''">
              <a:rPr lang="en-US" altLang="en-US" sz="1200" smtClean="0">
                <a:sym typeface="+mn-lt"/>
              </a:rPr>
              <a:pPr/>
              <a:t>34,2</a:t>
            </a:fld>
            <a:endParaRPr lang="en-US" sz="1200" dirty="0">
              <a:sym typeface="+mn-lt"/>
            </a:endParaRPr>
          </a:p>
        </p:txBody>
      </p:sp>
      <p:sp>
        <p:nvSpPr>
          <p:cNvPr id="61" name="Text Placeholder 2">
            <a:extLst>
              <a:ext uri="{FF2B5EF4-FFF2-40B4-BE49-F238E27FC236}">
                <a16:creationId xmlns:a16="http://schemas.microsoft.com/office/drawing/2014/main" id="{8E84FC9B-7830-49B4-BD88-8FED011421C0}"/>
              </a:ext>
            </a:extLst>
          </p:cNvPr>
          <p:cNvSpPr>
            <a:spLocks noGrp="1"/>
          </p:cNvSpPr>
          <p:nvPr>
            <p:custDataLst>
              <p:tags r:id="rId20"/>
            </p:custDataLst>
          </p:nvPr>
        </p:nvSpPr>
        <p:spPr bwMode="auto">
          <a:xfrm>
            <a:off x="8220720" y="5526272"/>
            <a:ext cx="3889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37F38B-6716-4CC3-A7C1-345B0E323C11}" type="datetime'''''W''''o''''''''''r''''''''''''''l''''''''''d'''''''''''">
              <a:rPr lang="en-US" altLang="en-US" sz="1200" smtClean="0"/>
              <a:pPr/>
              <a:t>World</a:t>
            </a:fld>
            <a:endParaRPr lang="en-US" sz="1200" dirty="0">
              <a:sym typeface="+mn-lt"/>
            </a:endParaRPr>
          </a:p>
        </p:txBody>
      </p:sp>
      <p:sp useBgFill="1">
        <p:nvSpPr>
          <p:cNvPr id="62" name="Text Placeholder 2">
            <a:extLst>
              <a:ext uri="{FF2B5EF4-FFF2-40B4-BE49-F238E27FC236}">
                <a16:creationId xmlns:a16="http://schemas.microsoft.com/office/drawing/2014/main" id="{BC9F4F78-CCAC-48A6-946C-857BD31C32C3}"/>
              </a:ext>
            </a:extLst>
          </p:cNvPr>
          <p:cNvSpPr>
            <a:spLocks noGrp="1"/>
          </p:cNvSpPr>
          <p:nvPr>
            <p:custDataLst>
              <p:tags r:id="rId21"/>
            </p:custDataLst>
          </p:nvPr>
        </p:nvSpPr>
        <p:spPr bwMode="gray">
          <a:xfrm>
            <a:off x="6277620" y="5059547"/>
            <a:ext cx="238125" cy="165100"/>
          </a:xfrm>
          <a:prstGeom prst="rect">
            <a:avLst/>
          </a:prstGeom>
          <a:ln>
            <a:noFill/>
          </a:ln>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EA1A90B-5C2E-44B5-AB6A-4065D561FBD0}" type="datetime'''''''''''''''''''''''''''''''''''''2'''',''''''4'''''">
              <a:rPr lang="en-US" altLang="en-US" sz="1200" smtClean="0"/>
              <a:pPr/>
              <a:t>2,4</a:t>
            </a:fld>
            <a:endParaRPr lang="en-US" sz="1200" dirty="0">
              <a:sym typeface="+mn-lt"/>
            </a:endParaRPr>
          </a:p>
        </p:txBody>
      </p:sp>
      <p:sp>
        <p:nvSpPr>
          <p:cNvPr id="63" name="Text Placeholder 2">
            <a:extLst>
              <a:ext uri="{FF2B5EF4-FFF2-40B4-BE49-F238E27FC236}">
                <a16:creationId xmlns:a16="http://schemas.microsoft.com/office/drawing/2014/main" id="{5F4688CA-22BF-4877-8356-9FA9BC2F60C0}"/>
              </a:ext>
            </a:extLst>
          </p:cNvPr>
          <p:cNvSpPr>
            <a:spLocks noGrp="1"/>
          </p:cNvSpPr>
          <p:nvPr>
            <p:custDataLst>
              <p:tags r:id="rId22"/>
            </p:custDataLst>
          </p:nvPr>
        </p:nvSpPr>
        <p:spPr bwMode="gray">
          <a:xfrm>
            <a:off x="7249170" y="4391209"/>
            <a:ext cx="3159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8D2416-965C-4258-8D61-A6BD4584C3F0}" type="datetime'''1''''''''2'''''''',''''''0'''''''''''''''''''''''''''''">
              <a:rPr lang="en-US" altLang="en-US" sz="1200" smtClean="0"/>
              <a:pPr/>
              <a:t>12,0</a:t>
            </a:fld>
            <a:endParaRPr lang="en-US" sz="1200" dirty="0">
              <a:sym typeface="+mn-lt"/>
            </a:endParaRPr>
          </a:p>
        </p:txBody>
      </p:sp>
      <p:sp>
        <p:nvSpPr>
          <p:cNvPr id="64" name="Rectangle 63">
            <a:extLst>
              <a:ext uri="{FF2B5EF4-FFF2-40B4-BE49-F238E27FC236}">
                <a16:creationId xmlns:a16="http://schemas.microsoft.com/office/drawing/2014/main" id="{2967CACD-C2D0-4DB5-B193-7563323C1EFB}"/>
              </a:ext>
            </a:extLst>
          </p:cNvPr>
          <p:cNvSpPr/>
          <p:nvPr>
            <p:custDataLst>
              <p:tags r:id="rId23"/>
            </p:custDataLst>
          </p:nvPr>
        </p:nvSpPr>
        <p:spPr bwMode="auto">
          <a:xfrm>
            <a:off x="6153795" y="2994209"/>
            <a:ext cx="214313" cy="160338"/>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B5CB0E8E-0EB0-4141-91C4-5E351F33885C}"/>
              </a:ext>
            </a:extLst>
          </p:cNvPr>
          <p:cNvSpPr/>
          <p:nvPr>
            <p:custDataLst>
              <p:tags r:id="rId24"/>
            </p:custDataLst>
          </p:nvPr>
        </p:nvSpPr>
        <p:spPr bwMode="auto">
          <a:xfrm>
            <a:off x="6153795" y="2778309"/>
            <a:ext cx="214313" cy="160338"/>
          </a:xfrm>
          <a:prstGeom prst="rect">
            <a:avLst/>
          </a:prstGeom>
          <a:solidFill>
            <a:schemeClr val="accent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 Placeholder 2">
            <a:extLst>
              <a:ext uri="{FF2B5EF4-FFF2-40B4-BE49-F238E27FC236}">
                <a16:creationId xmlns:a16="http://schemas.microsoft.com/office/drawing/2014/main" id="{47CDDC17-5A31-47C1-BE27-9FB1AA209CA2}"/>
              </a:ext>
            </a:extLst>
          </p:cNvPr>
          <p:cNvSpPr>
            <a:spLocks noGrp="1"/>
          </p:cNvSpPr>
          <p:nvPr>
            <p:custDataLst>
              <p:tags r:id="rId25"/>
            </p:custDataLst>
          </p:nvPr>
        </p:nvSpPr>
        <p:spPr bwMode="auto">
          <a:xfrm>
            <a:off x="6418908" y="2773547"/>
            <a:ext cx="7985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E7E3A85-5745-431E-8E7E-8B7F1A07EC97}" type="datetime'Sa''fe''''''''''ty'''''''' ''''S''''pen''''d'''''''''">
              <a:rPr lang="en-US" altLang="en-US" sz="1200" smtClean="0"/>
              <a:pPr/>
              <a:t>Safety Spend</a:t>
            </a:fld>
            <a:endParaRPr lang="en-US" sz="1200" dirty="0">
              <a:sym typeface="+mn-lt"/>
            </a:endParaRPr>
          </a:p>
        </p:txBody>
      </p:sp>
      <p:sp>
        <p:nvSpPr>
          <p:cNvPr id="67" name="Text Placeholder 2">
            <a:extLst>
              <a:ext uri="{FF2B5EF4-FFF2-40B4-BE49-F238E27FC236}">
                <a16:creationId xmlns:a16="http://schemas.microsoft.com/office/drawing/2014/main" id="{C33F5C8E-45A6-4A40-A08F-AAD4CA8369E9}"/>
              </a:ext>
            </a:extLst>
          </p:cNvPr>
          <p:cNvSpPr>
            <a:spLocks noGrp="1"/>
          </p:cNvSpPr>
          <p:nvPr>
            <p:custDataLst>
              <p:tags r:id="rId26"/>
            </p:custDataLst>
          </p:nvPr>
        </p:nvSpPr>
        <p:spPr bwMode="auto">
          <a:xfrm>
            <a:off x="6418908" y="2989447"/>
            <a:ext cx="10985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7F44756-D532-4941-8875-ADBCE327EF77}" type="datetime'O''pe''''''r''a''''''''tiona''l'''''''''' C''''os''''t''''''s'">
              <a:rPr lang="en-US" altLang="en-US" sz="1200" smtClean="0"/>
              <a:pPr/>
              <a:t>Operational Costs</a:t>
            </a:fld>
            <a:endParaRPr lang="en-US" sz="1200" dirty="0">
              <a:sym typeface="+mn-lt"/>
            </a:endParaRPr>
          </a:p>
        </p:txBody>
      </p:sp>
      <p:sp>
        <p:nvSpPr>
          <p:cNvPr id="70" name="TextBox 69">
            <a:extLst>
              <a:ext uri="{FF2B5EF4-FFF2-40B4-BE49-F238E27FC236}">
                <a16:creationId xmlns:a16="http://schemas.microsoft.com/office/drawing/2014/main" id="{C801A103-76A0-43BE-A0E4-64F540B6AAD5}"/>
              </a:ext>
            </a:extLst>
          </p:cNvPr>
          <p:cNvSpPr txBox="1"/>
          <p:nvPr/>
        </p:nvSpPr>
        <p:spPr>
          <a:xfrm>
            <a:off x="5187663" y="1846856"/>
            <a:ext cx="4059515" cy="369332"/>
          </a:xfrm>
          <a:prstGeom prst="rect">
            <a:avLst/>
          </a:prstGeom>
          <a:noFill/>
        </p:spPr>
        <p:txBody>
          <a:bodyPr wrap="square" rtlCol="0">
            <a:spAutoFit/>
          </a:bodyPr>
          <a:lstStyle/>
          <a:p>
            <a:pPr algn="ctr"/>
            <a:r>
              <a:rPr lang="en-US" dirty="0">
                <a:latin typeface="Century Gothic" panose="020B0502020202020204" pitchFamily="34" charset="0"/>
              </a:rPr>
              <a:t>Copper Yearly Operational Spend</a:t>
            </a:r>
          </a:p>
        </p:txBody>
      </p:sp>
      <p:sp>
        <p:nvSpPr>
          <p:cNvPr id="71" name="Oval 70">
            <a:extLst>
              <a:ext uri="{FF2B5EF4-FFF2-40B4-BE49-F238E27FC236}">
                <a16:creationId xmlns:a16="http://schemas.microsoft.com/office/drawing/2014/main" id="{64368B3A-33A3-4E09-9720-1229307E8590}"/>
              </a:ext>
            </a:extLst>
          </p:cNvPr>
          <p:cNvSpPr/>
          <p:nvPr/>
        </p:nvSpPr>
        <p:spPr>
          <a:xfrm>
            <a:off x="7891941" y="2560674"/>
            <a:ext cx="988827" cy="688967"/>
          </a:xfrm>
          <a:prstGeom prst="ellipse">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329BBF5F-4B61-4419-8225-C34C5C0FD75D}"/>
              </a:ext>
            </a:extLst>
          </p:cNvPr>
          <p:cNvSpPr txBox="1"/>
          <p:nvPr/>
        </p:nvSpPr>
        <p:spPr>
          <a:xfrm>
            <a:off x="448887" y="1151767"/>
            <a:ext cx="4855974" cy="369332"/>
          </a:xfrm>
          <a:prstGeom prst="rect">
            <a:avLst/>
          </a:prstGeom>
          <a:noFill/>
        </p:spPr>
        <p:txBody>
          <a:bodyPr wrap="square" rtlCol="0">
            <a:spAutoFit/>
          </a:bodyPr>
          <a:lstStyle/>
          <a:p>
            <a:r>
              <a:rPr lang="en-US" b="1" dirty="0">
                <a:latin typeface="Century Gothic" panose="020B0502020202020204" pitchFamily="34" charset="0"/>
              </a:rPr>
              <a:t>Market Size</a:t>
            </a:r>
          </a:p>
        </p:txBody>
      </p:sp>
      <p:pic>
        <p:nvPicPr>
          <p:cNvPr id="4" name="Graphic 3" descr="Dollar">
            <a:extLst>
              <a:ext uri="{FF2B5EF4-FFF2-40B4-BE49-F238E27FC236}">
                <a16:creationId xmlns:a16="http://schemas.microsoft.com/office/drawing/2014/main" id="{2FCF2840-0056-4AB5-9386-888B1FC57E3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023958" y="2773547"/>
            <a:ext cx="1306294" cy="1306294"/>
          </a:xfrm>
          <a:prstGeom prst="rect">
            <a:avLst/>
          </a:prstGeom>
        </p:spPr>
      </p:pic>
      <p:sp>
        <p:nvSpPr>
          <p:cNvPr id="68" name="TextBox 67">
            <a:extLst>
              <a:ext uri="{FF2B5EF4-FFF2-40B4-BE49-F238E27FC236}">
                <a16:creationId xmlns:a16="http://schemas.microsoft.com/office/drawing/2014/main" id="{623A222A-80A3-43A1-A23D-81DD41ADAFDE}"/>
              </a:ext>
            </a:extLst>
          </p:cNvPr>
          <p:cNvSpPr txBox="1"/>
          <p:nvPr/>
        </p:nvSpPr>
        <p:spPr>
          <a:xfrm>
            <a:off x="9528242" y="1842834"/>
            <a:ext cx="2297725" cy="369332"/>
          </a:xfrm>
          <a:prstGeom prst="rect">
            <a:avLst/>
          </a:prstGeom>
          <a:noFill/>
        </p:spPr>
        <p:txBody>
          <a:bodyPr wrap="square" rtlCol="0">
            <a:spAutoFit/>
          </a:bodyPr>
          <a:lstStyle/>
          <a:p>
            <a:pPr algn="ctr"/>
            <a:r>
              <a:rPr lang="en-US" dirty="0">
                <a:latin typeface="Century Gothic" panose="020B0502020202020204" pitchFamily="34" charset="0"/>
              </a:rPr>
              <a:t>MSHA 2019 Budget</a:t>
            </a:r>
          </a:p>
        </p:txBody>
      </p:sp>
      <p:sp>
        <p:nvSpPr>
          <p:cNvPr id="69" name="TextBox 68">
            <a:extLst>
              <a:ext uri="{FF2B5EF4-FFF2-40B4-BE49-F238E27FC236}">
                <a16:creationId xmlns:a16="http://schemas.microsoft.com/office/drawing/2014/main" id="{05E21481-44E7-4030-8DF6-BE8E78F287A5}"/>
              </a:ext>
            </a:extLst>
          </p:cNvPr>
          <p:cNvSpPr txBox="1"/>
          <p:nvPr/>
        </p:nvSpPr>
        <p:spPr>
          <a:xfrm>
            <a:off x="9431617" y="4467234"/>
            <a:ext cx="2490977" cy="646331"/>
          </a:xfrm>
          <a:prstGeom prst="rect">
            <a:avLst/>
          </a:prstGeom>
          <a:noFill/>
        </p:spPr>
        <p:txBody>
          <a:bodyPr wrap="square" rtlCol="0">
            <a:spAutoFit/>
          </a:bodyPr>
          <a:lstStyle/>
          <a:p>
            <a:pPr algn="ctr"/>
            <a:r>
              <a:rPr lang="en-US" sz="3600" b="1" dirty="0">
                <a:solidFill>
                  <a:schemeClr val="tx1">
                    <a:lumMod val="75000"/>
                    <a:lumOff val="25000"/>
                  </a:schemeClr>
                </a:solidFill>
                <a:latin typeface="Century Gothic" panose="020B0502020202020204" pitchFamily="34" charset="0"/>
              </a:rPr>
              <a:t>$376M</a:t>
            </a:r>
          </a:p>
        </p:txBody>
      </p:sp>
      <p:pic>
        <p:nvPicPr>
          <p:cNvPr id="7" name="Picture 6">
            <a:extLst>
              <a:ext uri="{FF2B5EF4-FFF2-40B4-BE49-F238E27FC236}">
                <a16:creationId xmlns:a16="http://schemas.microsoft.com/office/drawing/2014/main" id="{2643FE49-1061-4E82-AAEF-1C2ED4A494AE}"/>
              </a:ext>
            </a:extLst>
          </p:cNvPr>
          <p:cNvPicPr>
            <a:picLocks noChangeAspect="1"/>
          </p:cNvPicPr>
          <p:nvPr/>
        </p:nvPicPr>
        <p:blipFill rotWithShape="1">
          <a:blip r:embed="rId31"/>
          <a:srcRect t="4958"/>
          <a:stretch/>
        </p:blipFill>
        <p:spPr>
          <a:xfrm>
            <a:off x="359400" y="2560965"/>
            <a:ext cx="4610364" cy="2914507"/>
          </a:xfrm>
          <a:prstGeom prst="rect">
            <a:avLst/>
          </a:prstGeom>
        </p:spPr>
      </p:pic>
      <p:sp>
        <p:nvSpPr>
          <p:cNvPr id="73" name="TextBox 72">
            <a:extLst>
              <a:ext uri="{FF2B5EF4-FFF2-40B4-BE49-F238E27FC236}">
                <a16:creationId xmlns:a16="http://schemas.microsoft.com/office/drawing/2014/main" id="{63B25CD3-697F-4216-8060-97594033C74A}"/>
              </a:ext>
            </a:extLst>
          </p:cNvPr>
          <p:cNvSpPr txBox="1"/>
          <p:nvPr/>
        </p:nvSpPr>
        <p:spPr>
          <a:xfrm>
            <a:off x="634824" y="1842834"/>
            <a:ext cx="4059515" cy="369332"/>
          </a:xfrm>
          <a:prstGeom prst="rect">
            <a:avLst/>
          </a:prstGeom>
          <a:noFill/>
        </p:spPr>
        <p:txBody>
          <a:bodyPr wrap="square" rtlCol="0">
            <a:spAutoFit/>
          </a:bodyPr>
          <a:lstStyle/>
          <a:p>
            <a:pPr algn="ctr"/>
            <a:r>
              <a:rPr lang="en-US" dirty="0">
                <a:latin typeface="Century Gothic" panose="020B0502020202020204" pitchFamily="34" charset="0"/>
              </a:rPr>
              <a:t>Top 40 Performance ($ Billion)</a:t>
            </a:r>
          </a:p>
        </p:txBody>
      </p:sp>
      <p:pic>
        <p:nvPicPr>
          <p:cNvPr id="22" name="Graphic 21" descr="Line arrow: Clockwise curve">
            <a:extLst>
              <a:ext uri="{FF2B5EF4-FFF2-40B4-BE49-F238E27FC236}">
                <a16:creationId xmlns:a16="http://schemas.microsoft.com/office/drawing/2014/main" id="{3E61B63E-4D1A-4DFC-A389-145B08569DE7}"/>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rot="7460442">
            <a:off x="8931337" y="1117363"/>
            <a:ext cx="914400" cy="914400"/>
          </a:xfrm>
          <a:prstGeom prst="rect">
            <a:avLst/>
          </a:prstGeom>
        </p:spPr>
      </p:pic>
      <p:pic>
        <p:nvPicPr>
          <p:cNvPr id="74" name="Graphic 73" descr="Line arrow: Clockwise curve">
            <a:extLst>
              <a:ext uri="{FF2B5EF4-FFF2-40B4-BE49-F238E27FC236}">
                <a16:creationId xmlns:a16="http://schemas.microsoft.com/office/drawing/2014/main" id="{8090123B-4C25-4985-A3B7-F2B2029AF6D9}"/>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rot="7460442">
            <a:off x="4500468" y="1110866"/>
            <a:ext cx="914400" cy="914400"/>
          </a:xfrm>
          <a:prstGeom prst="rect">
            <a:avLst/>
          </a:prstGeom>
        </p:spPr>
      </p:pic>
      <p:sp>
        <p:nvSpPr>
          <p:cNvPr id="75" name="TextBox 74">
            <a:extLst>
              <a:ext uri="{FF2B5EF4-FFF2-40B4-BE49-F238E27FC236}">
                <a16:creationId xmlns:a16="http://schemas.microsoft.com/office/drawing/2014/main" id="{84B2147D-BDF9-4DC8-8915-0ADC6340A145}"/>
              </a:ext>
            </a:extLst>
          </p:cNvPr>
          <p:cNvSpPr txBox="1"/>
          <p:nvPr/>
        </p:nvSpPr>
        <p:spPr>
          <a:xfrm>
            <a:off x="5187663" y="1842834"/>
            <a:ext cx="4059515" cy="369332"/>
          </a:xfrm>
          <a:prstGeom prst="rect">
            <a:avLst/>
          </a:prstGeom>
          <a:noFill/>
        </p:spPr>
        <p:txBody>
          <a:bodyPr wrap="square" rtlCol="0">
            <a:spAutoFit/>
          </a:bodyPr>
          <a:lstStyle/>
          <a:p>
            <a:pPr algn="ctr"/>
            <a:r>
              <a:rPr lang="en-US" dirty="0">
                <a:latin typeface="Century Gothic" panose="020B0502020202020204" pitchFamily="34" charset="0"/>
              </a:rPr>
              <a:t>Copper Yearly Operational Spend</a:t>
            </a:r>
          </a:p>
        </p:txBody>
      </p:sp>
      <p:sp>
        <p:nvSpPr>
          <p:cNvPr id="79" name="TextBox 78">
            <a:extLst>
              <a:ext uri="{FF2B5EF4-FFF2-40B4-BE49-F238E27FC236}">
                <a16:creationId xmlns:a16="http://schemas.microsoft.com/office/drawing/2014/main" id="{0E91F928-36EE-4E42-B5DB-19361763C83F}"/>
              </a:ext>
            </a:extLst>
          </p:cNvPr>
          <p:cNvSpPr txBox="1"/>
          <p:nvPr/>
        </p:nvSpPr>
        <p:spPr>
          <a:xfrm>
            <a:off x="5971931" y="5630821"/>
            <a:ext cx="2490977" cy="646331"/>
          </a:xfrm>
          <a:prstGeom prst="rect">
            <a:avLst/>
          </a:prstGeom>
          <a:noFill/>
        </p:spPr>
        <p:txBody>
          <a:bodyPr wrap="square" rtlCol="0">
            <a:spAutoFit/>
          </a:bodyPr>
          <a:lstStyle/>
          <a:p>
            <a:pPr algn="ctr"/>
            <a:r>
              <a:rPr lang="en-US" sz="3600" b="1" dirty="0">
                <a:solidFill>
                  <a:schemeClr val="tx1">
                    <a:lumMod val="75000"/>
                    <a:lumOff val="25000"/>
                  </a:schemeClr>
                </a:solidFill>
                <a:latin typeface="Century Gothic" panose="020B0502020202020204" pitchFamily="34" charset="0"/>
              </a:rPr>
              <a:t>$1.8B</a:t>
            </a:r>
          </a:p>
        </p:txBody>
      </p:sp>
      <p:sp>
        <p:nvSpPr>
          <p:cNvPr id="80" name="TextBox 79">
            <a:extLst>
              <a:ext uri="{FF2B5EF4-FFF2-40B4-BE49-F238E27FC236}">
                <a16:creationId xmlns:a16="http://schemas.microsoft.com/office/drawing/2014/main" id="{199A8B91-A820-45EC-94FE-D58C833FE20C}"/>
              </a:ext>
            </a:extLst>
          </p:cNvPr>
          <p:cNvSpPr txBox="1"/>
          <p:nvPr/>
        </p:nvSpPr>
        <p:spPr>
          <a:xfrm>
            <a:off x="1414795" y="5312507"/>
            <a:ext cx="2490977" cy="646331"/>
          </a:xfrm>
          <a:prstGeom prst="rect">
            <a:avLst/>
          </a:prstGeom>
          <a:noFill/>
        </p:spPr>
        <p:txBody>
          <a:bodyPr wrap="square" rtlCol="0">
            <a:spAutoFit/>
          </a:bodyPr>
          <a:lstStyle/>
          <a:p>
            <a:pPr algn="ctr"/>
            <a:r>
              <a:rPr lang="en-US" sz="3600" b="1" dirty="0">
                <a:solidFill>
                  <a:schemeClr val="tx1">
                    <a:lumMod val="75000"/>
                    <a:lumOff val="25000"/>
                  </a:schemeClr>
                </a:solidFill>
                <a:latin typeface="Century Gothic" panose="020B0502020202020204" pitchFamily="34" charset="0"/>
              </a:rPr>
              <a:t>&gt; $600B </a:t>
            </a:r>
          </a:p>
        </p:txBody>
      </p:sp>
    </p:spTree>
    <p:extLst>
      <p:ext uri="{BB962C8B-B14F-4D97-AF65-F5344CB8AC3E}">
        <p14:creationId xmlns:p14="http://schemas.microsoft.com/office/powerpoint/2010/main" val="3211345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7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7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7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22"/>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0" grpId="0">
        <p:bldAsOne/>
      </p:bldGraphic>
      <p:bldP spid="51" grpId="0"/>
      <p:bldP spid="52" grpId="0"/>
      <p:bldP spid="53" grpId="0"/>
      <p:bldP spid="54" grpId="0"/>
      <p:bldP spid="55" grpId="0" animBg="1"/>
      <p:bldP spid="56" grpId="0"/>
      <p:bldP spid="57" grpId="0"/>
      <p:bldP spid="58" grpId="0" animBg="1"/>
      <p:bldP spid="59" grpId="0" animBg="1"/>
      <p:bldP spid="60" grpId="0"/>
      <p:bldP spid="61" grpId="0"/>
      <p:bldP spid="62" grpId="0" animBg="1"/>
      <p:bldP spid="63" grpId="0"/>
      <p:bldP spid="64" grpId="0" animBg="1"/>
      <p:bldP spid="65" grpId="0" animBg="1"/>
      <p:bldP spid="66" grpId="0"/>
      <p:bldP spid="67" grpId="0"/>
      <p:bldP spid="70" grpId="0"/>
      <p:bldP spid="71" grpId="0" animBg="1"/>
      <p:bldP spid="68" grpId="0"/>
      <p:bldP spid="69" grpId="0"/>
      <p:bldP spid="73" grpId="0"/>
      <p:bldP spid="75" grpId="0"/>
      <p:bldP spid="79" grpId="0"/>
      <p:bldP spid="8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CA1AE3F-710F-4A48-B30C-A0EBB7F24920}"/>
              </a:ext>
            </a:extLst>
          </p:cNvPr>
          <p:cNvCxnSpPr/>
          <p:nvPr/>
        </p:nvCxnSpPr>
        <p:spPr>
          <a:xfrm>
            <a:off x="311350" y="6495325"/>
            <a:ext cx="11351586" cy="12806"/>
          </a:xfrm>
          <a:prstGeom prst="line">
            <a:avLst/>
          </a:prstGeom>
          <a:ln>
            <a:solidFill>
              <a:srgbClr val="373334"/>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5806D946-4987-4585-97B2-7AD3B54D6588}"/>
              </a:ext>
            </a:extLst>
          </p:cNvPr>
          <p:cNvSpPr>
            <a:spLocks noGrp="1"/>
          </p:cNvSpPr>
          <p:nvPr>
            <p:ph type="sldNum" sz="quarter" idx="13"/>
          </p:nvPr>
        </p:nvSpPr>
        <p:spPr/>
        <p:txBody>
          <a:bodyPr/>
          <a:lstStyle/>
          <a:p>
            <a:fld id="{330EA680-D336-4FF7-8B7A-9848BB0A1C32}" type="slidenum">
              <a:rPr lang="en-US" smtClean="0"/>
              <a:t>9</a:t>
            </a:fld>
            <a:endParaRPr lang="en-US"/>
          </a:p>
        </p:txBody>
      </p:sp>
      <p:sp>
        <p:nvSpPr>
          <p:cNvPr id="80" name="Rectangle 79">
            <a:extLst>
              <a:ext uri="{FF2B5EF4-FFF2-40B4-BE49-F238E27FC236}">
                <a16:creationId xmlns:a16="http://schemas.microsoft.com/office/drawing/2014/main" id="{94822F5C-60A0-4539-B7D3-6206D11B0F51}"/>
              </a:ext>
            </a:extLst>
          </p:cNvPr>
          <p:cNvSpPr/>
          <p:nvPr/>
        </p:nvSpPr>
        <p:spPr>
          <a:xfrm>
            <a:off x="179152" y="3493564"/>
            <a:ext cx="3768023" cy="383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75000"/>
                    <a:lumOff val="25000"/>
                  </a:schemeClr>
                </a:solidFill>
                <a:latin typeface="Century Gothic" panose="020B0502020202020204" pitchFamily="34" charset="0"/>
                <a:cs typeface="Arial" panose="020B0604020202020204" pitchFamily="34" charset="0"/>
              </a:rPr>
              <a:t>Construction</a:t>
            </a:r>
          </a:p>
        </p:txBody>
      </p:sp>
      <p:sp>
        <p:nvSpPr>
          <p:cNvPr id="86" name="Rectangle 85">
            <a:extLst>
              <a:ext uri="{FF2B5EF4-FFF2-40B4-BE49-F238E27FC236}">
                <a16:creationId xmlns:a16="http://schemas.microsoft.com/office/drawing/2014/main" id="{6DE065CE-B6AB-4D87-A109-E940A359AA5B}"/>
              </a:ext>
            </a:extLst>
          </p:cNvPr>
          <p:cNvSpPr/>
          <p:nvPr/>
        </p:nvSpPr>
        <p:spPr>
          <a:xfrm>
            <a:off x="3911520" y="3491352"/>
            <a:ext cx="4606586" cy="30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75000"/>
                    <a:lumOff val="25000"/>
                  </a:schemeClr>
                </a:solidFill>
                <a:latin typeface="Century Gothic" panose="020B0502020202020204" pitchFamily="34" charset="0"/>
                <a:cs typeface="Arial" panose="020B0604020202020204" pitchFamily="34" charset="0"/>
              </a:rPr>
              <a:t>Traffic regulation</a:t>
            </a:r>
          </a:p>
        </p:txBody>
      </p:sp>
      <p:sp>
        <p:nvSpPr>
          <p:cNvPr id="87" name="Rectangle 86">
            <a:extLst>
              <a:ext uri="{FF2B5EF4-FFF2-40B4-BE49-F238E27FC236}">
                <a16:creationId xmlns:a16="http://schemas.microsoft.com/office/drawing/2014/main" id="{20B7651C-FFD2-4D58-AA0D-DEC192A60ACF}"/>
              </a:ext>
            </a:extLst>
          </p:cNvPr>
          <p:cNvSpPr/>
          <p:nvPr/>
        </p:nvSpPr>
        <p:spPr>
          <a:xfrm>
            <a:off x="8017944" y="3491352"/>
            <a:ext cx="4606586" cy="30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75000"/>
                    <a:lumOff val="25000"/>
                  </a:schemeClr>
                </a:solidFill>
                <a:latin typeface="Century Gothic" panose="020B0502020202020204" pitchFamily="34" charset="0"/>
                <a:cs typeface="Arial" panose="020B0604020202020204" pitchFamily="34" charset="0"/>
              </a:rPr>
              <a:t>Manufacturing</a:t>
            </a:r>
          </a:p>
        </p:txBody>
      </p:sp>
      <p:pic>
        <p:nvPicPr>
          <p:cNvPr id="3" name="Graphic 2" descr="Construction worker">
            <a:extLst>
              <a:ext uri="{FF2B5EF4-FFF2-40B4-BE49-F238E27FC236}">
                <a16:creationId xmlns:a16="http://schemas.microsoft.com/office/drawing/2014/main" id="{95363DFE-947A-40D6-8821-DC22DC8CD64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94791" y="4108332"/>
            <a:ext cx="1736746" cy="1736746"/>
          </a:xfrm>
          <a:prstGeom prst="rect">
            <a:avLst/>
          </a:prstGeom>
        </p:spPr>
      </p:pic>
      <p:pic>
        <p:nvPicPr>
          <p:cNvPr id="7" name="Graphic 6" descr="Motorcycle">
            <a:extLst>
              <a:ext uri="{FF2B5EF4-FFF2-40B4-BE49-F238E27FC236}">
                <a16:creationId xmlns:a16="http://schemas.microsoft.com/office/drawing/2014/main" id="{71AC36DB-BED3-4A62-A4E0-A5D862B3327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20239" y="4108332"/>
            <a:ext cx="1736746" cy="1736746"/>
          </a:xfrm>
          <a:prstGeom prst="rect">
            <a:avLst/>
          </a:prstGeom>
        </p:spPr>
      </p:pic>
      <p:pic>
        <p:nvPicPr>
          <p:cNvPr id="9" name="Graphic 8" descr="Factory">
            <a:extLst>
              <a:ext uri="{FF2B5EF4-FFF2-40B4-BE49-F238E27FC236}">
                <a16:creationId xmlns:a16="http://schemas.microsoft.com/office/drawing/2014/main" id="{5E95BB77-2EC7-466A-B563-CCB890962B0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52864" y="4108332"/>
            <a:ext cx="1736746" cy="1736746"/>
          </a:xfrm>
          <a:prstGeom prst="rect">
            <a:avLst/>
          </a:prstGeom>
        </p:spPr>
      </p:pic>
      <p:sp>
        <p:nvSpPr>
          <p:cNvPr id="27" name="TextBox 26">
            <a:extLst>
              <a:ext uri="{FF2B5EF4-FFF2-40B4-BE49-F238E27FC236}">
                <a16:creationId xmlns:a16="http://schemas.microsoft.com/office/drawing/2014/main" id="{0081A976-FBD1-4D1D-8AEA-9B8EBE5C8AF6}"/>
              </a:ext>
            </a:extLst>
          </p:cNvPr>
          <p:cNvSpPr txBox="1"/>
          <p:nvPr/>
        </p:nvSpPr>
        <p:spPr>
          <a:xfrm>
            <a:off x="448887" y="406656"/>
            <a:ext cx="11531853" cy="584775"/>
          </a:xfrm>
          <a:prstGeom prst="rect">
            <a:avLst/>
          </a:prstGeom>
          <a:noFill/>
        </p:spPr>
        <p:txBody>
          <a:bodyPr wrap="square" rtlCol="0" anchor="t">
            <a:spAutoFit/>
          </a:bodyPr>
          <a:lstStyle/>
          <a:p>
            <a:r>
              <a:rPr lang="en-US" sz="3200" b="1" dirty="0">
                <a:solidFill>
                  <a:srgbClr val="FF0000"/>
                </a:solidFill>
                <a:latin typeface="Century Gothic" panose="020B0502020202020204" pitchFamily="34" charset="0"/>
                <a:cs typeface="Arial"/>
              </a:rPr>
              <a:t>Safety</a:t>
            </a:r>
            <a:r>
              <a:rPr lang="en-US" sz="3200" b="1" dirty="0">
                <a:solidFill>
                  <a:schemeClr val="tx2"/>
                </a:solidFill>
                <a:latin typeface="Century Gothic" panose="020B0502020202020204" pitchFamily="34" charset="0"/>
                <a:cs typeface="Arial"/>
              </a:rPr>
              <a:t> Gear</a:t>
            </a:r>
            <a:endParaRPr lang="ru-RU" sz="3200" b="1" dirty="0">
              <a:solidFill>
                <a:schemeClr val="tx2"/>
              </a:solidFill>
              <a:latin typeface="Century Gothic" panose="020B0502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2F44D81-A908-4C48-B415-69EF30601481}"/>
              </a:ext>
            </a:extLst>
          </p:cNvPr>
          <p:cNvSpPr txBox="1"/>
          <p:nvPr/>
        </p:nvSpPr>
        <p:spPr>
          <a:xfrm>
            <a:off x="448887" y="2815264"/>
            <a:ext cx="11531853" cy="584775"/>
          </a:xfrm>
          <a:prstGeom prst="rect">
            <a:avLst/>
          </a:prstGeom>
          <a:noFill/>
        </p:spPr>
        <p:txBody>
          <a:bodyPr wrap="square" rtlCol="0" anchor="t">
            <a:spAutoFit/>
          </a:bodyPr>
          <a:lstStyle/>
          <a:p>
            <a:r>
              <a:rPr lang="en-US" sz="3200" b="1" dirty="0">
                <a:solidFill>
                  <a:srgbClr val="FF0000"/>
                </a:solidFill>
                <a:latin typeface="Century Gothic" panose="020B0502020202020204" pitchFamily="34" charset="0"/>
                <a:cs typeface="Arial"/>
              </a:rPr>
              <a:t>Safe </a:t>
            </a:r>
            <a:r>
              <a:rPr lang="en-US" sz="3200" b="1" dirty="0">
                <a:solidFill>
                  <a:schemeClr val="tx2"/>
                </a:solidFill>
                <a:latin typeface="Century Gothic" panose="020B0502020202020204" pitchFamily="34" charset="0"/>
                <a:cs typeface="Arial"/>
              </a:rPr>
              <a:t>Markets</a:t>
            </a:r>
            <a:endParaRPr lang="ru-RU" sz="3200" b="1" dirty="0">
              <a:solidFill>
                <a:schemeClr val="tx2"/>
              </a:solidFill>
              <a:latin typeface="Century Gothic" panose="020B0502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61C2AC60-574E-B742-8FE4-993ABE6D6C25}"/>
              </a:ext>
            </a:extLst>
          </p:cNvPr>
          <p:cNvGrpSpPr/>
          <p:nvPr/>
        </p:nvGrpSpPr>
        <p:grpSpPr>
          <a:xfrm>
            <a:off x="299534" y="1031978"/>
            <a:ext cx="11681206" cy="1637786"/>
            <a:chOff x="299534" y="1031978"/>
            <a:chExt cx="11681206" cy="1637786"/>
          </a:xfrm>
        </p:grpSpPr>
        <p:pic>
          <p:nvPicPr>
            <p:cNvPr id="2" name="Picture 1">
              <a:extLst>
                <a:ext uri="{FF2B5EF4-FFF2-40B4-BE49-F238E27FC236}">
                  <a16:creationId xmlns:a16="http://schemas.microsoft.com/office/drawing/2014/main" id="{16C9D7E6-5E8D-254D-877B-90CFED4DE331}"/>
                </a:ext>
              </a:extLst>
            </p:cNvPr>
            <p:cNvPicPr>
              <a:picLocks noChangeAspect="1"/>
            </p:cNvPicPr>
            <p:nvPr/>
          </p:nvPicPr>
          <p:blipFill rotWithShape="1">
            <a:blip r:embed="rId8">
              <a:duotone>
                <a:schemeClr val="accent2">
                  <a:shade val="45000"/>
                  <a:satMod val="135000"/>
                </a:schemeClr>
                <a:prstClr val="white"/>
              </a:duotone>
            </a:blip>
            <a:srcRect b="50252"/>
            <a:stretch/>
          </p:blipFill>
          <p:spPr>
            <a:xfrm>
              <a:off x="299534" y="1133655"/>
              <a:ext cx="5915279" cy="1536109"/>
            </a:xfrm>
            <a:prstGeom prst="rect">
              <a:avLst/>
            </a:prstGeom>
          </p:spPr>
        </p:pic>
        <p:pic>
          <p:nvPicPr>
            <p:cNvPr id="17" name="Picture 16">
              <a:extLst>
                <a:ext uri="{FF2B5EF4-FFF2-40B4-BE49-F238E27FC236}">
                  <a16:creationId xmlns:a16="http://schemas.microsoft.com/office/drawing/2014/main" id="{A0AB3943-B7AB-7F48-B2F4-3CB9D6E7CB86}"/>
                </a:ext>
              </a:extLst>
            </p:cNvPr>
            <p:cNvPicPr>
              <a:picLocks noChangeAspect="1"/>
            </p:cNvPicPr>
            <p:nvPr/>
          </p:nvPicPr>
          <p:blipFill rotWithShape="1">
            <a:blip r:embed="rId8">
              <a:duotone>
                <a:schemeClr val="accent2">
                  <a:shade val="45000"/>
                  <a:satMod val="135000"/>
                </a:schemeClr>
                <a:prstClr val="white"/>
              </a:duotone>
            </a:blip>
            <a:srcRect t="49759"/>
            <a:stretch/>
          </p:blipFill>
          <p:spPr>
            <a:xfrm>
              <a:off x="6169286" y="1031978"/>
              <a:ext cx="5811454" cy="1524094"/>
            </a:xfrm>
            <a:prstGeom prst="rect">
              <a:avLst/>
            </a:prstGeom>
          </p:spPr>
        </p:pic>
      </p:grpSp>
    </p:spTree>
    <p:extLst>
      <p:ext uri="{BB962C8B-B14F-4D97-AF65-F5344CB8AC3E}">
        <p14:creationId xmlns:p14="http://schemas.microsoft.com/office/powerpoint/2010/main" val="888234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500"/>
                                        <p:tgtEl>
                                          <p:spTgt spid="86"/>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P spid="86" grpId="0"/>
      <p:bldP spid="87" grpId="0"/>
      <p:bldP spid="2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fEAYkqN97GwPog_cCS1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nC3mOqYuPmA90XpgiMo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Za_mh6kescDNFwIw4s0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Sezb.dy2GTgUPtHhaIU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CQ5K1w.ylmqlPs51ST6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Q02vn380xvyZOqqBq5a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vmWqhNhfb30_LiT3Tv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5voVhQX_BtUl2hBGeqG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X8ODJlskv7sfB5bN921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VOR7ewC.LXjFXAuKAXh3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O5avm6G_CBHbYigpiSDf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5G0wWHdWd9W7BQmAIut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Ez3qQOaT6308_GyNmcr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1i34CsQybtVyHnAReQ7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kcvf_pGGCXVWRxuwXP62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6EWI4pMGkIL6eJdr_zqI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pYbO1.n3m0_eB.5FTbZ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JicjCCZZHtFK6ImJbWy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xTiFqt5RTyZMV3oDi6b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nvrMJzSKbVuJ8cR.DSk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OmAcRxDUcuhBAte3ENd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IUVid4sl536GCLFw.cXd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nFc5E70B.aE2d7LlHX1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JhyJ.hlwO7yg_QsLMqHS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17MNWW39imBNc6HMSeo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IRdBSAOGVrd6UNNFEWE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C8vkOPKtWlrmZe6i1Ie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h02ZQ0NDsnbFV868Y4U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K4LsVRwpA8YEfpg7Dni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5pk_O8rPITft14hZS5c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0E8yBV4QdDUqDdzyr5B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FE7ei5OBywMwQe1AGI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DBdNLL01kt4q5vobjZz_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u1M1oYsZ9BzPCVp2u5s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HD_CLSXfLbjkxzHQpmP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JzbPt6iFCGHbW_qtYNG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7ga3dmjNnov2zPY4u9s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ahazziafXFbLfD8dVI6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2H8gGrxakqawC0WtRDK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jMAQc0BhP8fkvW.7l.e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evp_32QSqpGIMkVXTGT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eqqPwdCHvRpCeg4B5YT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qtW1U5MsBsGzY5vSpYY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ILajQmLTiSCDamIyTV4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2dVFbOGaHoHTsdNgVwcb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tlQBc6782JMiOLCAi9f5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LcAA15YzdjBBrBxA_Rg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Ru3kRC2NssPMPlUhPj0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ohBxd2QQNg_KmMI5Nx1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luL5z7Cph6bqyvfueIg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p0.UWuHX9DbiU.aIqzV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EWuMu78y4sVOboDx5Zf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QQTXUFZ7y85U2AeG4kdt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1YpYRjjosRzjHlcxPh4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L8yYatAxrqTOw0OKnDxJ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aSsETzdhIpeQi0Labi7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ltYgttCEjFp6QRerjiy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JIIA4_zvGZXN4zvwDAK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Ixb2QYf7jhjLbt0GvsY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xe9gj3yHBy0WxcsxYQDk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7BktWfcLdmwW0PZsaou.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oxM0FPOf583WojBqeVn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KRdqNsL4ICq0JJSX2F3q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wpYlvFDXnXvW2oqYnirp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0LXnfWdeO5hV_lZyw27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oUud6MXGjmntdP.InUsR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ZDJR_cllcrCq4WBRzv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sDUsTd5st7JrsTiXzQIB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ZqI.oNGuq1UD3UsCJfrM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v4Asvo6miNbu7bLMCWD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KHpbUXr89CZyeBJbNIS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GPoh3X9w8wbly4P1A9U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jSxHCEtY_EOAnMjQGSx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bxtj7w8qis37mnvcYC7r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E0Chfv027CxOIv0wAjhF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ZKCK773hLRCA0zbbT4P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PXMNhnO9MnrIfI2MTvde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pU6AC18hWECzad.edRy0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DU6g0n9n4_ht_ElEFVG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to7.Y2RmvN1gps1ikWGy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wOtzu56sTgkEh.ajchPc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RvOUuMZ_JEPBOqObgPGB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w4k2ozkXGF6xzyoyjnOW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5RNhfRVcd4JANXK49ij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75TFhayNRj9LEm8lbHP9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bXCAjzeC2Mv7qxifObSL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4bBCPMlCO419T1Dg_0_S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ggZjz4KHh2qcePGkipQr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GfmMYhgyId5HArw_bE6p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8b5EGZfnZy1tLnIYvSOB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90sDOE4qVooWYEMawKw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4nRkRivRu7PWsVPWKgbk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24OwQAlIS.ZWsxTremU0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m80WgXQrOtMwETQweHr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xfebiu7m4GcmM.z6yZN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ZtcPHDRcW5WKlq.sh2PpA"/>
</p:tagLst>
</file>

<file path=ppt/theme/theme1.xml><?xml version="1.0" encoding="utf-8"?>
<a:theme xmlns:a="http://schemas.openxmlformats.org/drawingml/2006/main" name="TF44613219">
  <a:themeElements>
    <a:clrScheme name="Custom 131">
      <a:dk1>
        <a:sysClr val="windowText" lastClr="000000"/>
      </a:dk1>
      <a:lt1>
        <a:srgbClr val="FFFFFF"/>
      </a:lt1>
      <a:dk2>
        <a:srgbClr val="3F3F3F"/>
      </a:dk2>
      <a:lt2>
        <a:srgbClr val="F2F2F2"/>
      </a:lt2>
      <a:accent1>
        <a:srgbClr val="056AFF"/>
      </a:accent1>
      <a:accent2>
        <a:srgbClr val="FF391E"/>
      </a:accent2>
      <a:accent3>
        <a:srgbClr val="A1CC18"/>
      </a:accent3>
      <a:accent4>
        <a:srgbClr val="FFC000"/>
      </a:accent4>
      <a:accent5>
        <a:srgbClr val="1554B2"/>
      </a:accent5>
      <a:accent6>
        <a:srgbClr val="8BB20C"/>
      </a:accent6>
      <a:hlink>
        <a:srgbClr val="056AFF"/>
      </a:hlink>
      <a:folHlink>
        <a:srgbClr val="056AFF"/>
      </a:folHlink>
    </a:clrScheme>
    <a:fontScheme name="Custom 150">
      <a:majorFont>
        <a:latin typeface="Rockwell"/>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46000">
              <a:schemeClr val="bg1">
                <a:alpha val="90000"/>
              </a:schemeClr>
            </a:gs>
            <a:gs pos="0">
              <a:schemeClr val="accent1">
                <a:lumMod val="20000"/>
                <a:lumOff val="80000"/>
                <a:alpha val="50000"/>
              </a:schemeClr>
            </a:gs>
            <a:gs pos="80000">
              <a:schemeClr val="bg1">
                <a:lumMod val="95000"/>
              </a:schemeClr>
            </a:gs>
          </a:gsLst>
          <a:lin ang="3600000" scaled="0"/>
        </a:gradFill>
      </a:spPr>
      <a:bodyPr rot="0" spcFirstLastPara="0" vertOverflow="overflow" horzOverflow="overflow" vert="horz" wrap="square" lIns="72000" tIns="0" rIns="180000" bIns="180000" numCol="1" spcCol="0" rtlCol="0" fromWordArt="0" anchor="b" anchorCtr="0" forceAA="0" compatLnSpc="1">
        <a:prstTxWarp prst="textNoShape">
          <a:avLst/>
        </a:prstTxWarp>
        <a:noAutofit/>
      </a:bodyPr>
      <a:lstStyle>
        <a:defPPr algn="r">
          <a:lnSpc>
            <a:spcPts val="4700"/>
          </a:lnSpc>
          <a:spcBef>
            <a:spcPct val="0"/>
          </a:spcBef>
          <a:defRPr sz="4500">
            <a:solidFill>
              <a:schemeClr val="tx1"/>
            </a:solidFill>
            <a:latin typeface="Rockwell" panose="02060603020205020403" pitchFamily="18" charset="0"/>
            <a:ea typeface="+mj-ea"/>
            <a:cs typeface="+mj-cs"/>
          </a:defRPr>
        </a:defPPr>
      </a:lstStyle>
    </a:spDef>
  </a:objectDefaults>
  <a:extraClrSchemeLst/>
  <a:extLst>
    <a:ext uri="{05A4C25C-085E-4340-85A3-A5531E510DB2}">
      <thm15:themeFamily xmlns:thm15="http://schemas.microsoft.com/office/thememl/2012/main" name="TF44613219_Snowscape presentation_AAS_v3" id="{3F58B2BF-7FCB-4030-95D0-6E1293A51CD9}" vid="{53A5683B-83CA-458E-B89B-61DA222BA63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F33FE52F854348A85A5149034BF501" ma:contentTypeVersion="2" ma:contentTypeDescription="Create a new document." ma:contentTypeScope="" ma:versionID="83393b7895569a2d924dd6be7e815d4e">
  <xsd:schema xmlns:xsd="http://www.w3.org/2001/XMLSchema" xmlns:xs="http://www.w3.org/2001/XMLSchema" xmlns:p="http://schemas.microsoft.com/office/2006/metadata/properties" xmlns:ns2="9e70df81-e74b-4684-9d26-6eda9602b44c" targetNamespace="http://schemas.microsoft.com/office/2006/metadata/properties" ma:root="true" ma:fieldsID="c930817ecf5efd99d45203caffef9a7c" ns2:_="">
    <xsd:import namespace="9e70df81-e74b-4684-9d26-6eda9602b44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e70df81-e74b-4684-9d26-6eda9602b4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B01F267-0712-420A-93D4-2A19C127F1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e70df81-e74b-4684-9d26-6eda9602b4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518A523-EEA6-40F7-A8BF-6885D5906D4A}">
  <ds:schemaRefs>
    <ds:schemaRef ds:uri="http://schemas.microsoft.com/sharepoint/v3/contenttype/forms"/>
  </ds:schemaRefs>
</ds:datastoreItem>
</file>

<file path=customXml/itemProps3.xml><?xml version="1.0" encoding="utf-8"?>
<ds:datastoreItem xmlns:ds="http://schemas.openxmlformats.org/officeDocument/2006/customXml" ds:itemID="{38CC13D9-BAE0-49AD-8701-5EFDDCEB53CA}">
  <ds:schemaRefs>
    <ds:schemaRef ds:uri="http://purl.org/dc/elements/1.1/"/>
    <ds:schemaRef ds:uri="http://schemas.microsoft.com/office/2006/metadata/properties"/>
    <ds:schemaRef ds:uri="9e70df81-e74b-4684-9d26-6eda9602b44c"/>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F44613219</Template>
  <TotalTime>1501</TotalTime>
  <Words>518</Words>
  <Application>Microsoft Office PowerPoint</Application>
  <PresentationFormat>Widescreen</PresentationFormat>
  <Paragraphs>157</Paragraphs>
  <Slides>10</Slides>
  <Notes>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0</vt:i4>
      </vt:variant>
    </vt:vector>
  </HeadingPairs>
  <TitlesOfParts>
    <vt:vector size="18" baseType="lpstr">
      <vt:lpstr>Arial</vt:lpstr>
      <vt:lpstr>Calibri</vt:lpstr>
      <vt:lpstr>Calibri Light</vt:lpstr>
      <vt:lpstr>Century Gothic</vt:lpstr>
      <vt:lpstr>Rockwell</vt:lpstr>
      <vt:lpstr>System Font Regular</vt:lpstr>
      <vt:lpstr>Times New Roman</vt:lpstr>
      <vt:lpstr>TF44613219</vt:lpstr>
      <vt:lpstr>G-C Safety Protoco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Moutaz Al-Huneidi</cp:lastModifiedBy>
  <cp:revision>1</cp:revision>
  <dcterms:created xsi:type="dcterms:W3CDTF">2013-07-15T20:26:40Z</dcterms:created>
  <dcterms:modified xsi:type="dcterms:W3CDTF">2019-06-06T20:4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F33FE52F854348A85A5149034BF501</vt:lpwstr>
  </property>
</Properties>
</file>